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0" r:id="rId4"/>
  </p:sldMasterIdLst>
  <p:notesMasterIdLst>
    <p:notesMasterId r:id="rId6"/>
  </p:notesMasterIdLst>
  <p:sldIdLst>
    <p:sldId id="2147473061" r:id="rId5"/>
  </p:sldIdLst>
  <p:sldSz cx="12192000" cy="6858000"/>
  <p:notesSz cx="7023100" cy="93091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16275"/>
    <a:srgbClr val="A89968"/>
    <a:srgbClr val="FF0000"/>
    <a:srgbClr val="FEE95D"/>
    <a:srgbClr val="A9EB5F"/>
    <a:srgbClr val="5EDCF1"/>
    <a:srgbClr val="66AD66"/>
    <a:srgbClr val="FFEB9C"/>
    <a:srgbClr val="B9BCC0"/>
    <a:srgbClr val="B1B5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C3A3425-0637-4C35-BAB0-F7A895BFDE7B}" v="14" dt="2022-11-07T18:26:54.7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628" autoAdjust="0"/>
    <p:restoredTop sz="93593" autoAdjust="0"/>
  </p:normalViewPr>
  <p:slideViewPr>
    <p:cSldViewPr snapToGrid="0">
      <p:cViewPr varScale="1">
        <p:scale>
          <a:sx n="80" d="100"/>
          <a:sy n="80" d="100"/>
        </p:scale>
        <p:origin x="1123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cole Englert" userId="3fedd9dc-1036-4407-9292-f8d63379b2b0" providerId="ADAL" clId="{2C3A3425-0637-4C35-BAB0-F7A895BFDE7B}"/>
    <pc:docChg chg="custSel addSld delSld modSld sldOrd delMainMaster">
      <pc:chgData name="Nicole Englert" userId="3fedd9dc-1036-4407-9292-f8d63379b2b0" providerId="ADAL" clId="{2C3A3425-0637-4C35-BAB0-F7A895BFDE7B}" dt="2022-11-08T04:56:04.485" v="3886" actId="47"/>
      <pc:docMkLst>
        <pc:docMk/>
      </pc:docMkLst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1794968389" sldId="21204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2483159391" sldId="2134806956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3678407315" sldId="2145706969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1245311024" sldId="2147472934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2337580600" sldId="2147472961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2261541209" sldId="2147472971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1178820817" sldId="2147473010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3144944042" sldId="2147473011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875896217" sldId="2147473015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4291621921" sldId="2147473016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4221750080" sldId="2147473017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2172860807" sldId="2147473018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3677775953" sldId="2147473019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1186129990" sldId="2147473034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1584530082" sldId="2147473035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98182015" sldId="2147473036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2509653362" sldId="2147473037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3306094810" sldId="2147473047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1582896638" sldId="2147473049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577108677" sldId="2147473058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2879812319" sldId="2147473060"/>
        </pc:sldMkLst>
      </pc:sldChg>
      <pc:sldChg chg="addSp delSp modSp mod modClrScheme chgLayout">
        <pc:chgData name="Nicole Englert" userId="3fedd9dc-1036-4407-9292-f8d63379b2b0" providerId="ADAL" clId="{2C3A3425-0637-4C35-BAB0-F7A895BFDE7B}" dt="2022-11-07T18:46:39.579" v="3749" actId="313"/>
        <pc:sldMkLst>
          <pc:docMk/>
          <pc:sldMk cId="1708373607" sldId="2147473061"/>
        </pc:sldMkLst>
        <pc:spChg chg="del">
          <ac:chgData name="Nicole Englert" userId="3fedd9dc-1036-4407-9292-f8d63379b2b0" providerId="ADAL" clId="{2C3A3425-0637-4C35-BAB0-F7A895BFDE7B}" dt="2022-11-07T18:13:59.962" v="4" actId="478"/>
          <ac:spMkLst>
            <pc:docMk/>
            <pc:sldMk cId="1708373607" sldId="2147473061"/>
            <ac:spMk id="2" creationId="{F1F8141D-1E78-D273-DC69-847C203DAE70}"/>
          </ac:spMkLst>
        </pc:spChg>
        <pc:spChg chg="mod">
          <ac:chgData name="Nicole Englert" userId="3fedd9dc-1036-4407-9292-f8d63379b2b0" providerId="ADAL" clId="{2C3A3425-0637-4C35-BAB0-F7A895BFDE7B}" dt="2022-11-07T18:45:37.126" v="3725" actId="207"/>
          <ac:spMkLst>
            <pc:docMk/>
            <pc:sldMk cId="1708373607" sldId="2147473061"/>
            <ac:spMk id="4" creationId="{41585D3C-7D2C-FE65-11D9-D04FE9D4A8DD}"/>
          </ac:spMkLst>
        </pc:spChg>
        <pc:spChg chg="mod">
          <ac:chgData name="Nicole Englert" userId="3fedd9dc-1036-4407-9292-f8d63379b2b0" providerId="ADAL" clId="{2C3A3425-0637-4C35-BAB0-F7A895BFDE7B}" dt="2022-11-07T18:45:37.126" v="3725" actId="207"/>
          <ac:spMkLst>
            <pc:docMk/>
            <pc:sldMk cId="1708373607" sldId="2147473061"/>
            <ac:spMk id="5" creationId="{76A280B7-9DDC-024C-4959-9DE2291E296C}"/>
          </ac:spMkLst>
        </pc:spChg>
        <pc:spChg chg="add del mod ord">
          <ac:chgData name="Nicole Englert" userId="3fedd9dc-1036-4407-9292-f8d63379b2b0" providerId="ADAL" clId="{2C3A3425-0637-4C35-BAB0-F7A895BFDE7B}" dt="2022-11-07T18:13:55.223" v="3" actId="700"/>
          <ac:spMkLst>
            <pc:docMk/>
            <pc:sldMk cId="1708373607" sldId="2147473061"/>
            <ac:spMk id="6" creationId="{C52FD203-C3F2-57E3-8922-E4DC7E141BDE}"/>
          </ac:spMkLst>
        </pc:spChg>
        <pc:spChg chg="mod">
          <ac:chgData name="Nicole Englert" userId="3fedd9dc-1036-4407-9292-f8d63379b2b0" providerId="ADAL" clId="{2C3A3425-0637-4C35-BAB0-F7A895BFDE7B}" dt="2022-11-07T18:26:26.885" v="1912" actId="1036"/>
          <ac:spMkLst>
            <pc:docMk/>
            <pc:sldMk cId="1708373607" sldId="2147473061"/>
            <ac:spMk id="8" creationId="{057DF4E1-C99A-6A11-8754-66C576912AE6}"/>
          </ac:spMkLst>
        </pc:spChg>
        <pc:spChg chg="mod">
          <ac:chgData name="Nicole Englert" userId="3fedd9dc-1036-4407-9292-f8d63379b2b0" providerId="ADAL" clId="{2C3A3425-0637-4C35-BAB0-F7A895BFDE7B}" dt="2022-11-07T18:45:37.126" v="3725" actId="207"/>
          <ac:spMkLst>
            <pc:docMk/>
            <pc:sldMk cId="1708373607" sldId="2147473061"/>
            <ac:spMk id="9" creationId="{16672E59-A9C0-DEAF-A569-E93331001DEF}"/>
          </ac:spMkLst>
        </pc:spChg>
        <pc:spChg chg="mod">
          <ac:chgData name="Nicole Englert" userId="3fedd9dc-1036-4407-9292-f8d63379b2b0" providerId="ADAL" clId="{2C3A3425-0637-4C35-BAB0-F7A895BFDE7B}" dt="2022-11-07T18:17:11.946" v="485" actId="1076"/>
          <ac:spMkLst>
            <pc:docMk/>
            <pc:sldMk cId="1708373607" sldId="2147473061"/>
            <ac:spMk id="11" creationId="{B8268362-9B45-4CE8-F44B-4A241E58537C}"/>
          </ac:spMkLst>
        </pc:spChg>
        <pc:spChg chg="mod">
          <ac:chgData name="Nicole Englert" userId="3fedd9dc-1036-4407-9292-f8d63379b2b0" providerId="ADAL" clId="{2C3A3425-0637-4C35-BAB0-F7A895BFDE7B}" dt="2022-11-07T18:45:37.126" v="3725" actId="207"/>
          <ac:spMkLst>
            <pc:docMk/>
            <pc:sldMk cId="1708373607" sldId="2147473061"/>
            <ac:spMk id="12" creationId="{E0CC36DD-2528-B333-C1F9-02EA9645DDBD}"/>
          </ac:spMkLst>
        </pc:spChg>
        <pc:spChg chg="add del mod ord">
          <ac:chgData name="Nicole Englert" userId="3fedd9dc-1036-4407-9292-f8d63379b2b0" providerId="ADAL" clId="{2C3A3425-0637-4C35-BAB0-F7A895BFDE7B}" dt="2022-11-07T18:13:55.223" v="3" actId="700"/>
          <ac:spMkLst>
            <pc:docMk/>
            <pc:sldMk cId="1708373607" sldId="2147473061"/>
            <ac:spMk id="13" creationId="{210B8422-83FB-94F8-5420-E75072713484}"/>
          </ac:spMkLst>
        </pc:spChg>
        <pc:spChg chg="add mod">
          <ac:chgData name="Nicole Englert" userId="3fedd9dc-1036-4407-9292-f8d63379b2b0" providerId="ADAL" clId="{2C3A3425-0637-4C35-BAB0-F7A895BFDE7B}" dt="2022-11-07T18:26:37.742" v="1913" actId="693"/>
          <ac:spMkLst>
            <pc:docMk/>
            <pc:sldMk cId="1708373607" sldId="2147473061"/>
            <ac:spMk id="15" creationId="{2D5A42E1-010D-EECF-8C42-3DB90A46CF62}"/>
          </ac:spMkLst>
        </pc:spChg>
        <pc:spChg chg="mod">
          <ac:chgData name="Nicole Englert" userId="3fedd9dc-1036-4407-9292-f8d63379b2b0" providerId="ADAL" clId="{2C3A3425-0637-4C35-BAB0-F7A895BFDE7B}" dt="2022-11-07T18:45:37.126" v="3725" actId="207"/>
          <ac:spMkLst>
            <pc:docMk/>
            <pc:sldMk cId="1708373607" sldId="2147473061"/>
            <ac:spMk id="17" creationId="{0449AF0C-2398-B27B-38CC-EF315ABADB29}"/>
          </ac:spMkLst>
        </pc:spChg>
        <pc:spChg chg="add mod">
          <ac:chgData name="Nicole Englert" userId="3fedd9dc-1036-4407-9292-f8d63379b2b0" providerId="ADAL" clId="{2C3A3425-0637-4C35-BAB0-F7A895BFDE7B}" dt="2022-11-07T18:34:33.240" v="3721" actId="14100"/>
          <ac:spMkLst>
            <pc:docMk/>
            <pc:sldMk cId="1708373607" sldId="2147473061"/>
            <ac:spMk id="18" creationId="{F8E0D111-6150-789C-C9BD-ABD69238C8F6}"/>
          </ac:spMkLst>
        </pc:spChg>
        <pc:spChg chg="add mod">
          <ac:chgData name="Nicole Englert" userId="3fedd9dc-1036-4407-9292-f8d63379b2b0" providerId="ADAL" clId="{2C3A3425-0637-4C35-BAB0-F7A895BFDE7B}" dt="2022-11-07T18:26:37.742" v="1913" actId="693"/>
          <ac:spMkLst>
            <pc:docMk/>
            <pc:sldMk cId="1708373607" sldId="2147473061"/>
            <ac:spMk id="20" creationId="{6F03CFB1-0161-9B10-69B5-BA391185D5D2}"/>
          </ac:spMkLst>
        </pc:spChg>
        <pc:spChg chg="del">
          <ac:chgData name="Nicole Englert" userId="3fedd9dc-1036-4407-9292-f8d63379b2b0" providerId="ADAL" clId="{2C3A3425-0637-4C35-BAB0-F7A895BFDE7B}" dt="2022-11-07T18:14:02.645" v="5" actId="478"/>
          <ac:spMkLst>
            <pc:docMk/>
            <pc:sldMk cId="1708373607" sldId="2147473061"/>
            <ac:spMk id="23" creationId="{6BA3646F-7532-9177-7201-FF37A2BFCE5F}"/>
          </ac:spMkLst>
        </pc:spChg>
        <pc:spChg chg="add mod">
          <ac:chgData name="Nicole Englert" userId="3fedd9dc-1036-4407-9292-f8d63379b2b0" providerId="ADAL" clId="{2C3A3425-0637-4C35-BAB0-F7A895BFDE7B}" dt="2022-11-07T18:26:37.742" v="1913" actId="693"/>
          <ac:spMkLst>
            <pc:docMk/>
            <pc:sldMk cId="1708373607" sldId="2147473061"/>
            <ac:spMk id="24" creationId="{FC265AAA-A309-C030-0936-052F62EAB831}"/>
          </ac:spMkLst>
        </pc:spChg>
        <pc:spChg chg="add mod">
          <ac:chgData name="Nicole Englert" userId="3fedd9dc-1036-4407-9292-f8d63379b2b0" providerId="ADAL" clId="{2C3A3425-0637-4C35-BAB0-F7A895BFDE7B}" dt="2022-11-07T18:26:37.742" v="1913" actId="693"/>
          <ac:spMkLst>
            <pc:docMk/>
            <pc:sldMk cId="1708373607" sldId="2147473061"/>
            <ac:spMk id="25" creationId="{3270153C-9A71-5014-A927-570955ACA97B}"/>
          </ac:spMkLst>
        </pc:spChg>
        <pc:spChg chg="add mod">
          <ac:chgData name="Nicole Englert" userId="3fedd9dc-1036-4407-9292-f8d63379b2b0" providerId="ADAL" clId="{2C3A3425-0637-4C35-BAB0-F7A895BFDE7B}" dt="2022-11-07T18:46:39.579" v="3749" actId="313"/>
          <ac:spMkLst>
            <pc:docMk/>
            <pc:sldMk cId="1708373607" sldId="2147473061"/>
            <ac:spMk id="26" creationId="{50288570-0B18-4EDE-1261-5A6B63318753}"/>
          </ac:spMkLst>
        </pc:spChg>
        <pc:spChg chg="mod">
          <ac:chgData name="Nicole Englert" userId="3fedd9dc-1036-4407-9292-f8d63379b2b0" providerId="ADAL" clId="{2C3A3425-0637-4C35-BAB0-F7A895BFDE7B}" dt="2022-11-07T18:45:37.126" v="3725" actId="207"/>
          <ac:spMkLst>
            <pc:docMk/>
            <pc:sldMk cId="1708373607" sldId="2147473061"/>
            <ac:spMk id="27" creationId="{ED7FE313-980B-A741-D015-9A90B5160F50}"/>
          </ac:spMkLst>
        </pc:spChg>
        <pc:spChg chg="add mod">
          <ac:chgData name="Nicole Englert" userId="3fedd9dc-1036-4407-9292-f8d63379b2b0" providerId="ADAL" clId="{2C3A3425-0637-4C35-BAB0-F7A895BFDE7B}" dt="2022-11-07T18:26:37.742" v="1913" actId="693"/>
          <ac:spMkLst>
            <pc:docMk/>
            <pc:sldMk cId="1708373607" sldId="2147473061"/>
            <ac:spMk id="29" creationId="{FD79D8D9-B73F-F79D-8C1A-DB2789B00B55}"/>
          </ac:spMkLst>
        </pc:spChg>
        <pc:spChg chg="add mod">
          <ac:chgData name="Nicole Englert" userId="3fedd9dc-1036-4407-9292-f8d63379b2b0" providerId="ADAL" clId="{2C3A3425-0637-4C35-BAB0-F7A895BFDE7B}" dt="2022-11-07T18:26:26.885" v="1912" actId="1036"/>
          <ac:spMkLst>
            <pc:docMk/>
            <pc:sldMk cId="1708373607" sldId="2147473061"/>
            <ac:spMk id="30" creationId="{22D540DD-CB1C-EBEE-31A3-A452AB9E843D}"/>
          </ac:spMkLst>
        </pc:spChg>
        <pc:spChg chg="add del mod">
          <ac:chgData name="Nicole Englert" userId="3fedd9dc-1036-4407-9292-f8d63379b2b0" providerId="ADAL" clId="{2C3A3425-0637-4C35-BAB0-F7A895BFDE7B}" dt="2022-11-07T18:22:20.433" v="1613"/>
          <ac:spMkLst>
            <pc:docMk/>
            <pc:sldMk cId="1708373607" sldId="2147473061"/>
            <ac:spMk id="31" creationId="{131E2B07-0AE9-B490-B9ED-B9555D918245}"/>
          </ac:spMkLst>
        </pc:spChg>
        <pc:spChg chg="add mod">
          <ac:chgData name="Nicole Englert" userId="3fedd9dc-1036-4407-9292-f8d63379b2b0" providerId="ADAL" clId="{2C3A3425-0637-4C35-BAB0-F7A895BFDE7B}" dt="2022-11-07T18:22:28.529" v="1617" actId="20577"/>
          <ac:spMkLst>
            <pc:docMk/>
            <pc:sldMk cId="1708373607" sldId="2147473061"/>
            <ac:spMk id="34" creationId="{246FA591-34B5-E1AA-FD3E-E83C86C43D3C}"/>
          </ac:spMkLst>
        </pc:spChg>
        <pc:spChg chg="mod">
          <ac:chgData name="Nicole Englert" userId="3fedd9dc-1036-4407-9292-f8d63379b2b0" providerId="ADAL" clId="{2C3A3425-0637-4C35-BAB0-F7A895BFDE7B}" dt="2022-11-07T18:45:37.126" v="3725" actId="207"/>
          <ac:spMkLst>
            <pc:docMk/>
            <pc:sldMk cId="1708373607" sldId="2147473061"/>
            <ac:spMk id="35" creationId="{40D8B1A5-987E-DE76-63F2-90DC6827507C}"/>
          </ac:spMkLst>
        </pc:spChg>
        <pc:spChg chg="add mod">
          <ac:chgData name="Nicole Englert" userId="3fedd9dc-1036-4407-9292-f8d63379b2b0" providerId="ADAL" clId="{2C3A3425-0637-4C35-BAB0-F7A895BFDE7B}" dt="2022-11-07T18:22:36.351" v="1620" actId="20577"/>
          <ac:spMkLst>
            <pc:docMk/>
            <pc:sldMk cId="1708373607" sldId="2147473061"/>
            <ac:spMk id="36" creationId="{30F017B1-F3B5-0312-8E5B-61EDACF30C7A}"/>
          </ac:spMkLst>
        </pc:spChg>
        <pc:spChg chg="add mod">
          <ac:chgData name="Nicole Englert" userId="3fedd9dc-1036-4407-9292-f8d63379b2b0" providerId="ADAL" clId="{2C3A3425-0637-4C35-BAB0-F7A895BFDE7B}" dt="2022-11-07T18:22:43.850" v="1623" actId="20577"/>
          <ac:spMkLst>
            <pc:docMk/>
            <pc:sldMk cId="1708373607" sldId="2147473061"/>
            <ac:spMk id="38" creationId="{B74BF0B0-BB23-7B53-3E02-3C92CFBBD6F3}"/>
          </ac:spMkLst>
        </pc:spChg>
        <pc:spChg chg="add mod">
          <ac:chgData name="Nicole Englert" userId="3fedd9dc-1036-4407-9292-f8d63379b2b0" providerId="ADAL" clId="{2C3A3425-0637-4C35-BAB0-F7A895BFDE7B}" dt="2022-11-07T18:26:37.742" v="1913" actId="693"/>
          <ac:spMkLst>
            <pc:docMk/>
            <pc:sldMk cId="1708373607" sldId="2147473061"/>
            <ac:spMk id="39" creationId="{049E9D92-D99F-9211-32BE-E66605D1C554}"/>
          </ac:spMkLst>
        </pc:spChg>
        <pc:spChg chg="add mod">
          <ac:chgData name="Nicole Englert" userId="3fedd9dc-1036-4407-9292-f8d63379b2b0" providerId="ADAL" clId="{2C3A3425-0637-4C35-BAB0-F7A895BFDE7B}" dt="2022-11-07T18:45:37.126" v="3725" actId="207"/>
          <ac:spMkLst>
            <pc:docMk/>
            <pc:sldMk cId="1708373607" sldId="2147473061"/>
            <ac:spMk id="40" creationId="{ACE0A820-4869-58DE-25E8-C06E2BDD61BE}"/>
          </ac:spMkLst>
        </pc:spChg>
        <pc:cxnChg chg="mod">
          <ac:chgData name="Nicole Englert" userId="3fedd9dc-1036-4407-9292-f8d63379b2b0" providerId="ADAL" clId="{2C3A3425-0637-4C35-BAB0-F7A895BFDE7B}" dt="2022-11-07T18:26:26.885" v="1912" actId="1036"/>
          <ac:cxnSpMkLst>
            <pc:docMk/>
            <pc:sldMk cId="1708373607" sldId="2147473061"/>
            <ac:cxnSpMk id="7" creationId="{4948D605-6A19-DF24-8C73-FC4C60BDC54A}"/>
          </ac:cxnSpMkLst>
        </pc:cxnChg>
        <pc:cxnChg chg="mod">
          <ac:chgData name="Nicole Englert" userId="3fedd9dc-1036-4407-9292-f8d63379b2b0" providerId="ADAL" clId="{2C3A3425-0637-4C35-BAB0-F7A895BFDE7B}" dt="2022-11-07T18:25:56.920" v="1889" actId="1038"/>
          <ac:cxnSpMkLst>
            <pc:docMk/>
            <pc:sldMk cId="1708373607" sldId="2147473061"/>
            <ac:cxnSpMk id="28" creationId="{A0F7D33C-7FBA-A299-4EB5-E97BB160CEDB}"/>
          </ac:cxnSpMkLst>
        </pc:cxnChg>
        <pc:cxnChg chg="mod">
          <ac:chgData name="Nicole Englert" userId="3fedd9dc-1036-4407-9292-f8d63379b2b0" providerId="ADAL" clId="{2C3A3425-0637-4C35-BAB0-F7A895BFDE7B}" dt="2022-11-07T18:25:56.920" v="1889" actId="1038"/>
          <ac:cxnSpMkLst>
            <pc:docMk/>
            <pc:sldMk cId="1708373607" sldId="2147473061"/>
            <ac:cxnSpMk id="32" creationId="{34C7C954-817C-3A3D-81FC-92E1E314AA52}"/>
          </ac:cxnSpMkLst>
        </pc:cxnChg>
        <pc:cxnChg chg="mod">
          <ac:chgData name="Nicole Englert" userId="3fedd9dc-1036-4407-9292-f8d63379b2b0" providerId="ADAL" clId="{2C3A3425-0637-4C35-BAB0-F7A895BFDE7B}" dt="2022-11-07T18:26:26.885" v="1912" actId="1036"/>
          <ac:cxnSpMkLst>
            <pc:docMk/>
            <pc:sldMk cId="1708373607" sldId="2147473061"/>
            <ac:cxnSpMk id="37" creationId="{F38181BD-2D05-37A5-5164-1792CE4D00BE}"/>
          </ac:cxnSpMkLst>
        </pc:cxnChg>
        <pc:cxnChg chg="add mod">
          <ac:chgData name="Nicole Englert" userId="3fedd9dc-1036-4407-9292-f8d63379b2b0" providerId="ADAL" clId="{2C3A3425-0637-4C35-BAB0-F7A895BFDE7B}" dt="2022-11-07T18:26:26.885" v="1912" actId="1036"/>
          <ac:cxnSpMkLst>
            <pc:docMk/>
            <pc:sldMk cId="1708373607" sldId="2147473061"/>
            <ac:cxnSpMk id="43" creationId="{F11F7B6E-300E-A1E2-03A2-D237A9C23FAE}"/>
          </ac:cxnSpMkLst>
        </pc:cxnChg>
      </pc:sldChg>
      <pc:sldChg chg="addSp modSp new del mod ord">
        <pc:chgData name="Nicole Englert" userId="3fedd9dc-1036-4407-9292-f8d63379b2b0" providerId="ADAL" clId="{2C3A3425-0637-4C35-BAB0-F7A895BFDE7B}" dt="2022-11-08T04:56:04.485" v="3886" actId="47"/>
        <pc:sldMkLst>
          <pc:docMk/>
          <pc:sldMk cId="2719393805" sldId="2147473062"/>
        </pc:sldMkLst>
        <pc:spChg chg="add mod">
          <ac:chgData name="Nicole Englert" userId="3fedd9dc-1036-4407-9292-f8d63379b2b0" providerId="ADAL" clId="{2C3A3425-0637-4C35-BAB0-F7A895BFDE7B}" dt="2022-11-08T04:55:48.353" v="3885" actId="21"/>
          <ac:spMkLst>
            <pc:docMk/>
            <pc:sldMk cId="2719393805" sldId="2147473062"/>
            <ac:spMk id="2" creationId="{92127C36-DAF5-027B-6FBB-196A2FD9CB4C}"/>
          </ac:spMkLst>
        </pc:spChg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1446088648" sldId="2147473063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2544438366" sldId="2147473064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2958383351" sldId="2147473065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2598114223" sldId="2147473067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415267823" sldId="2147473068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2418863228" sldId="2147473069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3498668003" sldId="2147473070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2875008906" sldId="2147473071"/>
        </pc:sldMkLst>
      </pc:sldChg>
      <pc:sldChg chg="del">
        <pc:chgData name="Nicole Englert" userId="3fedd9dc-1036-4407-9292-f8d63379b2b0" providerId="ADAL" clId="{2C3A3425-0637-4C35-BAB0-F7A895BFDE7B}" dt="2022-11-07T18:13:40.802" v="0" actId="2696"/>
        <pc:sldMkLst>
          <pc:docMk/>
          <pc:sldMk cId="586754031" sldId="2147473072"/>
        </pc:sldMkLst>
      </pc:sldChg>
      <pc:sldMasterChg chg="del delSldLayout">
        <pc:chgData name="Nicole Englert" userId="3fedd9dc-1036-4407-9292-f8d63379b2b0" providerId="ADAL" clId="{2C3A3425-0637-4C35-BAB0-F7A895BFDE7B}" dt="2022-11-07T18:13:51.109" v="1" actId="700"/>
        <pc:sldMasterMkLst>
          <pc:docMk/>
          <pc:sldMasterMk cId="1271650052" sldId="2147483648"/>
        </pc:sldMasterMkLst>
        <pc:sldLayoutChg chg="del">
          <pc:chgData name="Nicole Englert" userId="3fedd9dc-1036-4407-9292-f8d63379b2b0" providerId="ADAL" clId="{2C3A3425-0637-4C35-BAB0-F7A895BFDE7B}" dt="2022-11-07T18:13:51.109" v="1" actId="700"/>
          <pc:sldLayoutMkLst>
            <pc:docMk/>
            <pc:sldMasterMk cId="1271650052" sldId="2147483648"/>
            <pc:sldLayoutMk cId="399404698" sldId="2147483649"/>
          </pc:sldLayoutMkLst>
        </pc:sldLayoutChg>
        <pc:sldLayoutChg chg="del">
          <pc:chgData name="Nicole Englert" userId="3fedd9dc-1036-4407-9292-f8d63379b2b0" providerId="ADAL" clId="{2C3A3425-0637-4C35-BAB0-F7A895BFDE7B}" dt="2022-11-07T18:13:51.109" v="1" actId="700"/>
          <pc:sldLayoutMkLst>
            <pc:docMk/>
            <pc:sldMasterMk cId="1271650052" sldId="2147483648"/>
            <pc:sldLayoutMk cId="813807662" sldId="2147483650"/>
          </pc:sldLayoutMkLst>
        </pc:sldLayoutChg>
        <pc:sldLayoutChg chg="del">
          <pc:chgData name="Nicole Englert" userId="3fedd9dc-1036-4407-9292-f8d63379b2b0" providerId="ADAL" clId="{2C3A3425-0637-4C35-BAB0-F7A895BFDE7B}" dt="2022-11-07T18:13:51.109" v="1" actId="700"/>
          <pc:sldLayoutMkLst>
            <pc:docMk/>
            <pc:sldMasterMk cId="1271650052" sldId="2147483648"/>
            <pc:sldLayoutMk cId="2945295028" sldId="2147483651"/>
          </pc:sldLayoutMkLst>
        </pc:sldLayoutChg>
        <pc:sldLayoutChg chg="del">
          <pc:chgData name="Nicole Englert" userId="3fedd9dc-1036-4407-9292-f8d63379b2b0" providerId="ADAL" clId="{2C3A3425-0637-4C35-BAB0-F7A895BFDE7B}" dt="2022-11-07T18:13:51.109" v="1" actId="700"/>
          <pc:sldLayoutMkLst>
            <pc:docMk/>
            <pc:sldMasterMk cId="1271650052" sldId="2147483648"/>
            <pc:sldLayoutMk cId="2065730346" sldId="2147483652"/>
          </pc:sldLayoutMkLst>
        </pc:sldLayoutChg>
        <pc:sldLayoutChg chg="del">
          <pc:chgData name="Nicole Englert" userId="3fedd9dc-1036-4407-9292-f8d63379b2b0" providerId="ADAL" clId="{2C3A3425-0637-4C35-BAB0-F7A895BFDE7B}" dt="2022-11-07T18:13:51.109" v="1" actId="700"/>
          <pc:sldLayoutMkLst>
            <pc:docMk/>
            <pc:sldMasterMk cId="1271650052" sldId="2147483648"/>
            <pc:sldLayoutMk cId="3952212869" sldId="2147483653"/>
          </pc:sldLayoutMkLst>
        </pc:sldLayoutChg>
        <pc:sldLayoutChg chg="del">
          <pc:chgData name="Nicole Englert" userId="3fedd9dc-1036-4407-9292-f8d63379b2b0" providerId="ADAL" clId="{2C3A3425-0637-4C35-BAB0-F7A895BFDE7B}" dt="2022-11-07T18:13:51.109" v="1" actId="700"/>
          <pc:sldLayoutMkLst>
            <pc:docMk/>
            <pc:sldMasterMk cId="1271650052" sldId="2147483648"/>
            <pc:sldLayoutMk cId="2823764759" sldId="2147483654"/>
          </pc:sldLayoutMkLst>
        </pc:sldLayoutChg>
        <pc:sldLayoutChg chg="del">
          <pc:chgData name="Nicole Englert" userId="3fedd9dc-1036-4407-9292-f8d63379b2b0" providerId="ADAL" clId="{2C3A3425-0637-4C35-BAB0-F7A895BFDE7B}" dt="2022-11-07T18:13:51.109" v="1" actId="700"/>
          <pc:sldLayoutMkLst>
            <pc:docMk/>
            <pc:sldMasterMk cId="1271650052" sldId="2147483648"/>
            <pc:sldLayoutMk cId="3822569592" sldId="2147483655"/>
          </pc:sldLayoutMkLst>
        </pc:sldLayoutChg>
        <pc:sldLayoutChg chg="del">
          <pc:chgData name="Nicole Englert" userId="3fedd9dc-1036-4407-9292-f8d63379b2b0" providerId="ADAL" clId="{2C3A3425-0637-4C35-BAB0-F7A895BFDE7B}" dt="2022-11-07T18:13:51.109" v="1" actId="700"/>
          <pc:sldLayoutMkLst>
            <pc:docMk/>
            <pc:sldMasterMk cId="1271650052" sldId="2147483648"/>
            <pc:sldLayoutMk cId="925889917" sldId="2147483656"/>
          </pc:sldLayoutMkLst>
        </pc:sldLayoutChg>
        <pc:sldLayoutChg chg="del">
          <pc:chgData name="Nicole Englert" userId="3fedd9dc-1036-4407-9292-f8d63379b2b0" providerId="ADAL" clId="{2C3A3425-0637-4C35-BAB0-F7A895BFDE7B}" dt="2022-11-07T18:13:51.109" v="1" actId="700"/>
          <pc:sldLayoutMkLst>
            <pc:docMk/>
            <pc:sldMasterMk cId="1271650052" sldId="2147483648"/>
            <pc:sldLayoutMk cId="299272694" sldId="2147483657"/>
          </pc:sldLayoutMkLst>
        </pc:sldLayoutChg>
        <pc:sldLayoutChg chg="del">
          <pc:chgData name="Nicole Englert" userId="3fedd9dc-1036-4407-9292-f8d63379b2b0" providerId="ADAL" clId="{2C3A3425-0637-4C35-BAB0-F7A895BFDE7B}" dt="2022-11-07T18:13:51.109" v="1" actId="700"/>
          <pc:sldLayoutMkLst>
            <pc:docMk/>
            <pc:sldMasterMk cId="1271650052" sldId="2147483648"/>
            <pc:sldLayoutMk cId="1077125423" sldId="2147483658"/>
          </pc:sldLayoutMkLst>
        </pc:sldLayoutChg>
        <pc:sldLayoutChg chg="del">
          <pc:chgData name="Nicole Englert" userId="3fedd9dc-1036-4407-9292-f8d63379b2b0" providerId="ADAL" clId="{2C3A3425-0637-4C35-BAB0-F7A895BFDE7B}" dt="2022-11-07T18:13:51.109" v="1" actId="700"/>
          <pc:sldLayoutMkLst>
            <pc:docMk/>
            <pc:sldMasterMk cId="1271650052" sldId="2147483648"/>
            <pc:sldLayoutMk cId="2860259231" sldId="2147483659"/>
          </pc:sldLayoutMkLst>
        </pc:sldLayoutChg>
      </pc:sldMasterChg>
      <pc:sldMasterChg chg="delSldLayout">
        <pc:chgData name="Nicole Englert" userId="3fedd9dc-1036-4407-9292-f8d63379b2b0" providerId="ADAL" clId="{2C3A3425-0637-4C35-BAB0-F7A895BFDE7B}" dt="2022-11-07T18:13:40.802" v="0" actId="2696"/>
        <pc:sldMasterMkLst>
          <pc:docMk/>
          <pc:sldMasterMk cId="1991601464" sldId="2147483780"/>
        </pc:sldMasterMkLst>
        <pc:sldLayoutChg chg="del">
          <pc:chgData name="Nicole Englert" userId="3fedd9dc-1036-4407-9292-f8d63379b2b0" providerId="ADAL" clId="{2C3A3425-0637-4C35-BAB0-F7A895BFDE7B}" dt="2022-11-07T18:13:40.802" v="0" actId="2696"/>
          <pc:sldLayoutMkLst>
            <pc:docMk/>
            <pc:sldMasterMk cId="1991601464" sldId="2147483780"/>
            <pc:sldLayoutMk cId="3026756010" sldId="2147483794"/>
          </pc:sldLayoutMkLst>
        </pc:sldLayoutChg>
        <pc:sldLayoutChg chg="del">
          <pc:chgData name="Nicole Englert" userId="3fedd9dc-1036-4407-9292-f8d63379b2b0" providerId="ADAL" clId="{2C3A3425-0637-4C35-BAB0-F7A895BFDE7B}" dt="2022-11-07T18:13:40.802" v="0" actId="2696"/>
          <pc:sldLayoutMkLst>
            <pc:docMk/>
            <pc:sldMasterMk cId="1991601464" sldId="2147483780"/>
            <pc:sldLayoutMk cId="1884160972" sldId="2147483795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861D6D-622A-46FC-BEF0-BBFD0D545304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9925"/>
            <a:ext cx="5619750" cy="36655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780327-9969-4B05-9C03-5CA528B328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7664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microsoft.com/office/2007/relationships/hdphoto" Target="../media/hdphoto1.wdp"/><Relationship Id="rId5" Type="http://schemas.openxmlformats.org/officeDocument/2006/relationships/tags" Target="../tags/tag7.xml"/><Relationship Id="rId10" Type="http://schemas.openxmlformats.org/officeDocument/2006/relationships/image" Target="../media/image13.png"/><Relationship Id="rId4" Type="http://schemas.openxmlformats.org/officeDocument/2006/relationships/tags" Target="../tags/tag6.xml"/><Relationship Id="rId9" Type="http://schemas.openxmlformats.org/officeDocument/2006/relationships/image" Target="../media/image12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rint - Premium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50EB0EFD-1402-8043-8C9D-24D3954F02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5274527" cy="6860037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E79BA1A-2FFE-9641-A77C-296CD9912DB3}"/>
              </a:ext>
            </a:extLst>
          </p:cNvPr>
          <p:cNvSpPr/>
          <p:nvPr userDrawn="1"/>
        </p:nvSpPr>
        <p:spPr>
          <a:xfrm>
            <a:off x="5818910" y="1581374"/>
            <a:ext cx="5962996" cy="30255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>
              <a:solidFill>
                <a:srgbClr val="FFFFFF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6A96F02-B4C0-1948-9A5E-357B8123D0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4631" y="6434254"/>
            <a:ext cx="2664920" cy="30108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795C6590-5AD2-2E4D-993E-FDB11C8FCB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69961" y="2296455"/>
            <a:ext cx="4987636" cy="1132547"/>
          </a:xfrm>
        </p:spPr>
        <p:txBody>
          <a:bodyPr lIns="0" tIns="0" rIns="0" bIns="0" anchor="t" anchorCtr="0">
            <a:normAutofit/>
          </a:bodyPr>
          <a:lstStyle>
            <a:lvl1pPr algn="l">
              <a:defRPr sz="4236">
                <a:solidFill>
                  <a:schemeClr val="accent6"/>
                </a:solidFill>
              </a:defRPr>
            </a:lvl1pPr>
          </a:lstStyle>
          <a:p>
            <a:r>
              <a:rPr lang="en-US"/>
              <a:t>Main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23E4BA8-C6E0-294B-A4D6-7E528DE63DC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69961" y="3588647"/>
            <a:ext cx="4987636" cy="242048"/>
          </a:xfrm>
        </p:spPr>
        <p:txBody>
          <a:bodyPr lIns="0" tIns="0" rIns="0" bIns="0"/>
          <a:lstStyle>
            <a:lvl1pPr marL="0" indent="0" algn="l">
              <a:buNone/>
              <a:defRPr sz="1765">
                <a:solidFill>
                  <a:schemeClr val="accent6"/>
                </a:solidFill>
              </a:defRPr>
            </a:lvl1pPr>
            <a:lvl2pPr marL="332832" indent="0" algn="ctr">
              <a:buNone/>
              <a:defRPr sz="1456"/>
            </a:lvl2pPr>
            <a:lvl3pPr marL="665665" indent="0" algn="ctr">
              <a:buNone/>
              <a:defRPr sz="1310"/>
            </a:lvl3pPr>
            <a:lvl4pPr marL="998497" indent="0" algn="ctr">
              <a:buNone/>
              <a:defRPr sz="1165"/>
            </a:lvl4pPr>
            <a:lvl5pPr marL="1331330" indent="0" algn="ctr">
              <a:buNone/>
              <a:defRPr sz="1165"/>
            </a:lvl5pPr>
            <a:lvl6pPr marL="1664162" indent="0" algn="ctr">
              <a:buNone/>
              <a:defRPr sz="1165"/>
            </a:lvl6pPr>
            <a:lvl7pPr marL="1996995" indent="0" algn="ctr">
              <a:buNone/>
              <a:defRPr sz="1165"/>
            </a:lvl7pPr>
            <a:lvl8pPr marL="2329827" indent="0" algn="ctr">
              <a:buNone/>
              <a:defRPr sz="1165"/>
            </a:lvl8pPr>
            <a:lvl9pPr marL="2662660" indent="0" algn="ctr">
              <a:buNone/>
              <a:defRPr sz="1165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218C6B4-90E9-4FE7-9009-CD1589518ADD}"/>
              </a:ext>
            </a:extLst>
          </p:cNvPr>
          <p:cNvSpPr txBox="1"/>
          <p:nvPr userDrawn="1"/>
        </p:nvSpPr>
        <p:spPr>
          <a:xfrm>
            <a:off x="10158698" y="6482619"/>
            <a:ext cx="1812235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8">
                <a:solidFill>
                  <a:schemeClr val="bg1"/>
                </a:solidFill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591214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43DDAD9-6FBA-4A4C-B4AC-99ADF6BCC502}"/>
              </a:ext>
            </a:extLst>
          </p:cNvPr>
          <p:cNvCxnSpPr/>
          <p:nvPr userDrawn="1"/>
        </p:nvCxnSpPr>
        <p:spPr>
          <a:xfrm>
            <a:off x="831274" y="403412"/>
            <a:ext cx="10529455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94311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6050ED4-9A2C-044C-A3D6-D0BFE24114D0}"/>
              </a:ext>
            </a:extLst>
          </p:cNvPr>
          <p:cNvCxnSpPr/>
          <p:nvPr userDrawn="1"/>
        </p:nvCxnSpPr>
        <p:spPr>
          <a:xfrm>
            <a:off x="831274" y="403412"/>
            <a:ext cx="10529455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42871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ing Color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AABB212-ABB5-CE46-B2C9-1FDD5B357011}"/>
              </a:ext>
            </a:extLst>
          </p:cNvPr>
          <p:cNvCxnSpPr/>
          <p:nvPr userDrawn="1"/>
        </p:nvCxnSpPr>
        <p:spPr>
          <a:xfrm>
            <a:off x="831274" y="403412"/>
            <a:ext cx="10529455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48767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8063F9-BD79-4AC7-AE37-FA41373B03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893664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8063F9-BD79-4AC7-AE37-FA41373B0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7D5CD0B7-78F0-4D90-8217-39B2ABEF29E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5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2B0F6C8D-341F-4814-96BB-29FC10D2EF5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5157" y="172212"/>
            <a:ext cx="5065355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8" name="Slide Number">
            <a:extLst>
              <a:ext uri="{FF2B5EF4-FFF2-40B4-BE49-F238E27FC236}">
                <a16:creationId xmlns:a16="http://schemas.microsoft.com/office/drawing/2014/main" id="{189FC83F-F940-442F-8A4B-3FFD875A4CE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1967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78FB6ABA-5C56-491E-8274-9A06845B0D4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8" y="6111861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/>
              <a:t>Source: …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61B0FCF-27D5-4DB1-9C4D-A919C60C30B7}"/>
              </a:ext>
            </a:extLst>
          </p:cNvPr>
          <p:cNvPicPr>
            <a:picLocks/>
          </p:cNvPicPr>
          <p:nvPr userDrawn="1"/>
        </p:nvPicPr>
        <p:blipFill>
          <a:blip r:embed="rId10" cstate="print">
            <a:duotone>
              <a:prstClr val="black"/>
              <a:srgbClr val="63666A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644" y="6445386"/>
            <a:ext cx="1431396" cy="28422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DE5D06A-5FC9-46D0-A9D7-1917DFC48B1F}"/>
              </a:ext>
            </a:extLst>
          </p:cNvPr>
          <p:cNvSpPr txBox="1"/>
          <p:nvPr userDrawn="1"/>
        </p:nvSpPr>
        <p:spPr>
          <a:xfrm>
            <a:off x="9929993" y="6519675"/>
            <a:ext cx="125675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r>
              <a:rPr lang="en-US" sz="9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ileged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627494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B Wa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40FFBDD-D1C8-2F4E-88AE-C4D4E5247A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6546" y="403413"/>
            <a:ext cx="10714181" cy="739588"/>
          </a:xfrm>
        </p:spPr>
        <p:txBody>
          <a:bodyPr anchor="t" anchorCtr="0">
            <a:normAutofit/>
          </a:bodyPr>
          <a:lstStyle>
            <a:lvl1pPr algn="l">
              <a:defRPr sz="5294">
                <a:solidFill>
                  <a:schemeClr val="bg2"/>
                </a:solidFill>
              </a:defRPr>
            </a:lvl1pPr>
          </a:lstStyle>
          <a:p>
            <a:r>
              <a:rPr lang="en-US"/>
              <a:t>Main Tit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8B978D7-B46E-544D-A0B1-43CE834B02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8909" y="1371600"/>
            <a:ext cx="10621819" cy="1655762"/>
          </a:xfrm>
        </p:spPr>
        <p:txBody>
          <a:bodyPr/>
          <a:lstStyle>
            <a:lvl1pPr marL="0" indent="0" algn="l">
              <a:buNone/>
              <a:defRPr sz="2184">
                <a:solidFill>
                  <a:schemeClr val="bg1"/>
                </a:solidFill>
              </a:defRPr>
            </a:lvl1pPr>
            <a:lvl2pPr marL="332832" indent="0" algn="ctr">
              <a:buNone/>
              <a:defRPr sz="1456"/>
            </a:lvl2pPr>
            <a:lvl3pPr marL="665665" indent="0" algn="ctr">
              <a:buNone/>
              <a:defRPr sz="1310"/>
            </a:lvl3pPr>
            <a:lvl4pPr marL="998497" indent="0" algn="ctr">
              <a:buNone/>
              <a:defRPr sz="1165"/>
            </a:lvl4pPr>
            <a:lvl5pPr marL="1331330" indent="0" algn="ctr">
              <a:buNone/>
              <a:defRPr sz="1165"/>
            </a:lvl5pPr>
            <a:lvl6pPr marL="1664162" indent="0" algn="ctr">
              <a:buNone/>
              <a:defRPr sz="1165"/>
            </a:lvl6pPr>
            <a:lvl7pPr marL="1996995" indent="0" algn="ctr">
              <a:buNone/>
              <a:defRPr sz="1165"/>
            </a:lvl7pPr>
            <a:lvl8pPr marL="2329827" indent="0" algn="ctr">
              <a:buNone/>
              <a:defRPr sz="1165"/>
            </a:lvl8pPr>
            <a:lvl9pPr marL="2662660" indent="0" algn="ctr">
              <a:buNone/>
              <a:defRPr sz="1165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842C6D-0B3A-4EDE-BD7C-76FB55A4F65D}"/>
              </a:ext>
            </a:extLst>
          </p:cNvPr>
          <p:cNvSpPr txBox="1"/>
          <p:nvPr userDrawn="1"/>
        </p:nvSpPr>
        <p:spPr>
          <a:xfrm>
            <a:off x="10158698" y="6482619"/>
            <a:ext cx="1812235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8">
                <a:solidFill>
                  <a:schemeClr val="bg1"/>
                </a:solidFill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607093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 - St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33539C7-2655-B245-A977-6558F2B520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6363" y="1479184"/>
            <a:ext cx="7197436" cy="672347"/>
          </a:xfrm>
        </p:spPr>
        <p:txBody>
          <a:bodyPr>
            <a:noAutofit/>
          </a:bodyPr>
          <a:lstStyle>
            <a:lvl1pPr>
              <a:defRPr sz="4236"/>
            </a:lvl1pPr>
          </a:lstStyle>
          <a:p>
            <a:r>
              <a:rPr lang="en-US"/>
              <a:t>Section Tit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02CD01-8320-734E-B114-E04D927E812D}"/>
              </a:ext>
            </a:extLst>
          </p:cNvPr>
          <p:cNvCxnSpPr>
            <a:cxnSpLocks/>
          </p:cNvCxnSpPr>
          <p:nvPr userDrawn="1"/>
        </p:nvCxnSpPr>
        <p:spPr>
          <a:xfrm>
            <a:off x="4156363" y="403412"/>
            <a:ext cx="7204365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kitchen with a table in a room&#10;&#10;Description automatically generated">
            <a:extLst>
              <a:ext uri="{FF2B5EF4-FFF2-40B4-BE49-F238E27FC236}">
                <a16:creationId xmlns:a16="http://schemas.microsoft.com/office/drawing/2014/main" id="{ACB552F3-99E8-5147-A48C-0F0DBA6F68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3306617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CDBA16-40D9-FF45-8B50-FADD0C9761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49435" y="2154218"/>
            <a:ext cx="7204364" cy="470644"/>
          </a:xfrm>
        </p:spPr>
        <p:txBody>
          <a:bodyPr anchor="ctr"/>
          <a:lstStyle>
            <a:lvl1pPr>
              <a:buNone/>
              <a:defRPr sz="1765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 Title 01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B133189-F2B0-F445-98AD-A111132E0A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9435" y="2557629"/>
            <a:ext cx="7204364" cy="470644"/>
          </a:xfrm>
        </p:spPr>
        <p:txBody>
          <a:bodyPr anchor="ctr"/>
          <a:lstStyle>
            <a:lvl1pPr>
              <a:buNone/>
              <a:defRPr sz="1765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Sub Title 0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131F3B-786A-4244-9A2E-773A781F896B}"/>
              </a:ext>
            </a:extLst>
          </p:cNvPr>
          <p:cNvSpPr txBox="1"/>
          <p:nvPr userDrawn="1"/>
        </p:nvSpPr>
        <p:spPr>
          <a:xfrm>
            <a:off x="10158698" y="6482619"/>
            <a:ext cx="1812235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8">
                <a:solidFill>
                  <a:schemeClr val="tx1"/>
                </a:solidFill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814707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 - Semi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33539C7-2655-B245-A977-6558F2B520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6363" y="1479184"/>
            <a:ext cx="7197436" cy="672347"/>
          </a:xfrm>
        </p:spPr>
        <p:txBody>
          <a:bodyPr>
            <a:noAutofit/>
          </a:bodyPr>
          <a:lstStyle>
            <a:lvl1pPr>
              <a:defRPr sz="4236"/>
            </a:lvl1pPr>
          </a:lstStyle>
          <a:p>
            <a:r>
              <a:rPr lang="en-US"/>
              <a:t>Section Tit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02CD01-8320-734E-B114-E04D927E812D}"/>
              </a:ext>
            </a:extLst>
          </p:cNvPr>
          <p:cNvCxnSpPr>
            <a:cxnSpLocks/>
          </p:cNvCxnSpPr>
          <p:nvPr userDrawn="1"/>
        </p:nvCxnSpPr>
        <p:spPr>
          <a:xfrm>
            <a:off x="4156363" y="403412"/>
            <a:ext cx="7204365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kitchen with an island in the middle of a room&#10;&#10;Description automatically generated">
            <a:extLst>
              <a:ext uri="{FF2B5EF4-FFF2-40B4-BE49-F238E27FC236}">
                <a16:creationId xmlns:a16="http://schemas.microsoft.com/office/drawing/2014/main" id="{ABC8DE0E-0B21-F548-A99D-90C9E47CBA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3879273" cy="6858000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CBB95C4-5FDF-5240-8023-4A9BDB84A5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49435" y="2154218"/>
            <a:ext cx="7204364" cy="470644"/>
          </a:xfrm>
        </p:spPr>
        <p:txBody>
          <a:bodyPr anchor="ctr"/>
          <a:lstStyle>
            <a:lvl1pPr>
              <a:buNone/>
              <a:defRPr sz="1765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 Title 01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A1E0381-4F94-B948-AF3A-1BD4D04D79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9435" y="2557629"/>
            <a:ext cx="7204364" cy="470644"/>
          </a:xfrm>
        </p:spPr>
        <p:txBody>
          <a:bodyPr anchor="ctr"/>
          <a:lstStyle>
            <a:lvl1pPr>
              <a:buNone/>
              <a:defRPr sz="1765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Sub Title 0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5446647-B54F-47EE-B77D-7C2161BC5D69}"/>
              </a:ext>
            </a:extLst>
          </p:cNvPr>
          <p:cNvSpPr txBox="1"/>
          <p:nvPr userDrawn="1"/>
        </p:nvSpPr>
        <p:spPr>
          <a:xfrm>
            <a:off x="10158698" y="6482619"/>
            <a:ext cx="1812235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8">
                <a:solidFill>
                  <a:schemeClr val="tx1"/>
                </a:solidFill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938955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 - Premi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33539C7-2655-B245-A977-6558F2B520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6363" y="1479184"/>
            <a:ext cx="7197436" cy="672347"/>
          </a:xfrm>
        </p:spPr>
        <p:txBody>
          <a:bodyPr>
            <a:noAutofit/>
          </a:bodyPr>
          <a:lstStyle>
            <a:lvl1pPr>
              <a:defRPr sz="4236"/>
            </a:lvl1pPr>
          </a:lstStyle>
          <a:p>
            <a:r>
              <a:rPr lang="en-US"/>
              <a:t>Section Tit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02CD01-8320-734E-B114-E04D927E812D}"/>
              </a:ext>
            </a:extLst>
          </p:cNvPr>
          <p:cNvCxnSpPr>
            <a:cxnSpLocks/>
          </p:cNvCxnSpPr>
          <p:nvPr userDrawn="1"/>
        </p:nvCxnSpPr>
        <p:spPr>
          <a:xfrm>
            <a:off x="4156363" y="403412"/>
            <a:ext cx="7204365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room filled with furniture and a large window&#10;&#10;Description automatically generated">
            <a:extLst>
              <a:ext uri="{FF2B5EF4-FFF2-40B4-BE49-F238E27FC236}">
                <a16:creationId xmlns:a16="http://schemas.microsoft.com/office/drawing/2014/main" id="{0958E12C-5AD9-7944-A122-EF10DB4FFE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3879273" cy="6858002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14402D6-F6BA-1146-A22F-BA5516FBCE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49435" y="2154218"/>
            <a:ext cx="7204364" cy="470644"/>
          </a:xfrm>
        </p:spPr>
        <p:txBody>
          <a:bodyPr anchor="ctr"/>
          <a:lstStyle>
            <a:lvl1pPr>
              <a:buNone/>
              <a:defRPr sz="1765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 Title 01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6A9CE98-DE94-4A42-8E05-9DA466A446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9435" y="2557629"/>
            <a:ext cx="7204364" cy="470644"/>
          </a:xfrm>
        </p:spPr>
        <p:txBody>
          <a:bodyPr anchor="ctr"/>
          <a:lstStyle>
            <a:lvl1pPr>
              <a:buNone/>
              <a:defRPr sz="1765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Sub Title 0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8B0002-76A4-4492-BA03-12E2532C0392}"/>
              </a:ext>
            </a:extLst>
          </p:cNvPr>
          <p:cNvSpPr txBox="1"/>
          <p:nvPr userDrawn="1"/>
        </p:nvSpPr>
        <p:spPr>
          <a:xfrm>
            <a:off x="10158698" y="6482619"/>
            <a:ext cx="1812235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8">
                <a:solidFill>
                  <a:schemeClr val="tx1"/>
                </a:solidFill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8430816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33539C7-2655-B245-A977-6558F2B520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6363" y="1479184"/>
            <a:ext cx="7197436" cy="672347"/>
          </a:xfrm>
        </p:spPr>
        <p:txBody>
          <a:bodyPr>
            <a:noAutofit/>
          </a:bodyPr>
          <a:lstStyle>
            <a:lvl1pPr>
              <a:defRPr sz="4236"/>
            </a:lvl1pPr>
          </a:lstStyle>
          <a:p>
            <a:r>
              <a:rPr lang="en-US"/>
              <a:t>Section Tit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02CD01-8320-734E-B114-E04D927E812D}"/>
              </a:ext>
            </a:extLst>
          </p:cNvPr>
          <p:cNvCxnSpPr>
            <a:cxnSpLocks/>
          </p:cNvCxnSpPr>
          <p:nvPr userDrawn="1"/>
        </p:nvCxnSpPr>
        <p:spPr>
          <a:xfrm>
            <a:off x="4156363" y="403412"/>
            <a:ext cx="7204365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14402D6-F6BA-1146-A22F-BA5516FBCE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49435" y="2154218"/>
            <a:ext cx="7204364" cy="470644"/>
          </a:xfrm>
        </p:spPr>
        <p:txBody>
          <a:bodyPr anchor="ctr"/>
          <a:lstStyle>
            <a:lvl1pPr>
              <a:buNone/>
              <a:defRPr sz="1765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 Title 01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6A9CE98-DE94-4A42-8E05-9DA466A446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9435" y="2557629"/>
            <a:ext cx="7204364" cy="470644"/>
          </a:xfrm>
        </p:spPr>
        <p:txBody>
          <a:bodyPr anchor="ctr"/>
          <a:lstStyle>
            <a:lvl1pPr>
              <a:buNone/>
              <a:defRPr sz="1765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Sub Title 0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8B0002-76A4-4492-BA03-12E2532C0392}"/>
              </a:ext>
            </a:extLst>
          </p:cNvPr>
          <p:cNvSpPr txBox="1"/>
          <p:nvPr userDrawn="1"/>
        </p:nvSpPr>
        <p:spPr>
          <a:xfrm>
            <a:off x="10158698" y="6482619"/>
            <a:ext cx="1812235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8">
                <a:solidFill>
                  <a:schemeClr val="tx1"/>
                </a:solidFill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8112938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 - MB Wa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33539C7-2655-B245-A977-6558F2B520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6363" y="1479184"/>
            <a:ext cx="7197436" cy="672347"/>
          </a:xfrm>
        </p:spPr>
        <p:txBody>
          <a:bodyPr>
            <a:noAutofit/>
          </a:bodyPr>
          <a:lstStyle>
            <a:lvl1pPr>
              <a:defRPr sz="4236"/>
            </a:lvl1pPr>
          </a:lstStyle>
          <a:p>
            <a:r>
              <a:rPr lang="en-US"/>
              <a:t>Section Tit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02CD01-8320-734E-B114-E04D927E812D}"/>
              </a:ext>
            </a:extLst>
          </p:cNvPr>
          <p:cNvCxnSpPr>
            <a:cxnSpLocks/>
          </p:cNvCxnSpPr>
          <p:nvPr userDrawn="1"/>
        </p:nvCxnSpPr>
        <p:spPr>
          <a:xfrm>
            <a:off x="4156363" y="403412"/>
            <a:ext cx="7204365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2DB2E12-2444-6448-9FFD-0A6EBDC5B7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49435" y="2154218"/>
            <a:ext cx="7204364" cy="470644"/>
          </a:xfrm>
        </p:spPr>
        <p:txBody>
          <a:bodyPr anchor="ctr"/>
          <a:lstStyle>
            <a:lvl1pPr>
              <a:buNone/>
              <a:defRPr sz="1765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 Title 01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1C2BDFC-12AE-234F-B0C9-E276D983B4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9435" y="2557629"/>
            <a:ext cx="7204364" cy="470644"/>
          </a:xfrm>
        </p:spPr>
        <p:txBody>
          <a:bodyPr anchor="ctr"/>
          <a:lstStyle>
            <a:lvl1pPr>
              <a:buNone/>
              <a:defRPr sz="1765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Sub Title 0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DCA77A-ADF2-4176-8A67-B7338F686D58}"/>
              </a:ext>
            </a:extLst>
          </p:cNvPr>
          <p:cNvSpPr txBox="1"/>
          <p:nvPr userDrawn="1"/>
        </p:nvSpPr>
        <p:spPr>
          <a:xfrm>
            <a:off x="10158698" y="6482619"/>
            <a:ext cx="1812235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8">
                <a:solidFill>
                  <a:schemeClr val="tx1"/>
                </a:solidFill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019559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7BD99-E8EA-6949-89AA-30FE9D98CD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onten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CDC2B3-9D9B-4248-A95C-3640A8302E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5129" y="1900811"/>
            <a:ext cx="10515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5BAD34E-ABB5-584E-A928-B126D0F89C14}"/>
              </a:ext>
            </a:extLst>
          </p:cNvPr>
          <p:cNvCxnSpPr/>
          <p:nvPr userDrawn="1"/>
        </p:nvCxnSpPr>
        <p:spPr>
          <a:xfrm>
            <a:off x="831274" y="403412"/>
            <a:ext cx="10529455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71986" y="6454588"/>
            <a:ext cx="2579255" cy="201706"/>
          </a:xfrm>
        </p:spPr>
        <p:txBody>
          <a:bodyPr/>
          <a:lstStyle/>
          <a:p>
            <a:fld id="{DD655CFD-A67B-4B88-A637-B0D5AF1FDAD0}" type="slidenum">
              <a:rPr lang="en-US" smtClean="0">
                <a:solidFill>
                  <a:srgbClr val="958B83"/>
                </a:solidFill>
              </a:rPr>
              <a:pPr/>
              <a:t>‹#›</a:t>
            </a:fld>
            <a:endParaRPr lang="en-US">
              <a:solidFill>
                <a:srgbClr val="958B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366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Slide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7BD99-E8EA-6949-89AA-30FE9D98CD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onten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CDC2B3-9D9B-4248-A95C-3640A8302E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479249"/>
            <a:ext cx="10515600" cy="3697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A4D863D-B5AA-F442-B02E-B1DB78F1E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838200" y="1762813"/>
            <a:ext cx="10515600" cy="433632"/>
          </a:xfrm>
        </p:spPr>
        <p:txBody>
          <a:bodyPr anchor="t">
            <a:noAutofit/>
          </a:bodyPr>
          <a:lstStyle>
            <a:lvl1pPr marL="0" indent="0">
              <a:buNone/>
              <a:defRPr sz="2184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366A099-59DE-A748-9E13-CDC88CFE1BF8}"/>
              </a:ext>
            </a:extLst>
          </p:cNvPr>
          <p:cNvCxnSpPr/>
          <p:nvPr userDrawn="1"/>
        </p:nvCxnSpPr>
        <p:spPr>
          <a:xfrm>
            <a:off x="831274" y="403412"/>
            <a:ext cx="10529455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99543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BCA9BBF-A8BD-461E-A300-982C906C1B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4506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44" imgH="344" progId="TCLayout.ActiveDocument.1">
                  <p:embed/>
                </p:oleObj>
              </mc:Choice>
              <mc:Fallback>
                <p:oleObj name="think-cell Slide" r:id="rId1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BCA9BBF-A8BD-461E-A300-982C906C1B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D7D9779-663F-4D4E-8BC2-FB32B564B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03413"/>
            <a:ext cx="10515600" cy="12872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819B99-D8DB-DC47-A006-5DF6C64240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2255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7C94653-D932-294F-9EC2-C7162B19B7F8}"/>
              </a:ext>
            </a:extLst>
          </p:cNvPr>
          <p:cNvSpPr txBox="1"/>
          <p:nvPr/>
        </p:nvSpPr>
        <p:spPr>
          <a:xfrm>
            <a:off x="8729717" y="6462803"/>
            <a:ext cx="1812235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28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t>© MasterBrand Cabinet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1C89D01-1E29-F44D-BA82-0051DD5F2C3C}"/>
              </a:ext>
            </a:extLst>
          </p:cNvPr>
          <p:cNvCxnSpPr/>
          <p:nvPr/>
        </p:nvCxnSpPr>
        <p:spPr>
          <a:xfrm>
            <a:off x="838203" y="6214671"/>
            <a:ext cx="10515599" cy="0"/>
          </a:xfrm>
          <a:prstGeom prst="line">
            <a:avLst/>
          </a:prstGeom>
          <a:ln>
            <a:solidFill>
              <a:srgbClr val="000000">
                <a:alpha val="30000"/>
              </a:srgb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AD37CAE7-B38D-1A4B-8780-211A29EA28C0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hq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210" y="6357058"/>
            <a:ext cx="1937114" cy="211489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51636" y="6418873"/>
            <a:ext cx="2493819" cy="255419"/>
          </a:xfrm>
          <a:prstGeom prst="rect">
            <a:avLst/>
          </a:prstGeom>
        </p:spPr>
        <p:txBody>
          <a:bodyPr/>
          <a:lstStyle>
            <a:lvl1pPr algn="r">
              <a:defRPr sz="1059">
                <a:solidFill>
                  <a:schemeClr val="accent1"/>
                </a:solidFill>
              </a:defRPr>
            </a:lvl1pPr>
          </a:lstStyle>
          <a:p>
            <a:fld id="{DD655CFD-A67B-4B88-A637-B0D5AF1FDAD0}" type="slidenum">
              <a:rPr lang="en-US" smtClean="0">
                <a:solidFill>
                  <a:srgbClr val="958B83"/>
                </a:solidFill>
              </a:rPr>
              <a:pPr/>
              <a:t>‹#›</a:t>
            </a:fld>
            <a:endParaRPr lang="en-US">
              <a:solidFill>
                <a:srgbClr val="958B83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8D18D29-9F33-4843-ABD9-6ABC72F36201}"/>
              </a:ext>
            </a:extLst>
          </p:cNvPr>
          <p:cNvSpPr txBox="1"/>
          <p:nvPr userDrawn="1"/>
        </p:nvSpPr>
        <p:spPr>
          <a:xfrm>
            <a:off x="5189883" y="6469941"/>
            <a:ext cx="1812235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8">
                <a:solidFill>
                  <a:schemeClr val="tx1"/>
                </a:solidFill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99160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92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3" r:id="rId13"/>
  </p:sldLayoutIdLst>
  <p:hf hdr="0" ftr="0" dt="0"/>
  <p:txStyles>
    <p:titleStyle>
      <a:lvl1pPr algn="l" defTabSz="665665" rtl="0" eaLnBrk="1" latinLnBrk="0" hangingPunct="1">
        <a:lnSpc>
          <a:spcPct val="90000"/>
        </a:lnSpc>
        <a:spcBef>
          <a:spcPct val="0"/>
        </a:spcBef>
        <a:buNone/>
        <a:defRPr sz="3203" b="1" i="0" kern="1200">
          <a:solidFill>
            <a:schemeClr val="tx2"/>
          </a:solidFill>
          <a:latin typeface="+mj-lt"/>
          <a:ea typeface="+mj-ea"/>
          <a:cs typeface="Futura" panose="020B0602020204020303" pitchFamily="34" charset="-79"/>
        </a:defRPr>
      </a:lvl1pPr>
    </p:titleStyle>
    <p:bodyStyle>
      <a:lvl1pPr marL="166416" indent="-166416" algn="l" defTabSz="665665" rtl="0" eaLnBrk="1" latinLnBrk="0" hangingPunct="1">
        <a:lnSpc>
          <a:spcPct val="90000"/>
        </a:lnSpc>
        <a:spcBef>
          <a:spcPts val="728"/>
        </a:spcBef>
        <a:buFont typeface="Arial" panose="020B0604020202020204" pitchFamily="34" charset="0"/>
        <a:buChar char="•"/>
        <a:defRPr sz="2038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499249" indent="-166416" algn="l" defTabSz="665665" rtl="0" eaLnBrk="1" latinLnBrk="0" hangingPunct="1">
        <a:lnSpc>
          <a:spcPct val="90000"/>
        </a:lnSpc>
        <a:spcBef>
          <a:spcPts val="364"/>
        </a:spcBef>
        <a:buFont typeface="Arial" panose="020B0604020202020204" pitchFamily="34" charset="0"/>
        <a:buChar char="•"/>
        <a:defRPr sz="1747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32081" indent="-166416" algn="l" defTabSz="665665" rtl="0" eaLnBrk="1" latinLnBrk="0" hangingPunct="1">
        <a:lnSpc>
          <a:spcPct val="90000"/>
        </a:lnSpc>
        <a:spcBef>
          <a:spcPts val="364"/>
        </a:spcBef>
        <a:buFont typeface="Arial" panose="020B0604020202020204" pitchFamily="34" charset="0"/>
        <a:buChar char="•"/>
        <a:defRPr sz="1456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164914" indent="-166416" algn="l" defTabSz="665665" rtl="0" eaLnBrk="1" latinLnBrk="0" hangingPunct="1">
        <a:lnSpc>
          <a:spcPct val="90000"/>
        </a:lnSpc>
        <a:spcBef>
          <a:spcPts val="364"/>
        </a:spcBef>
        <a:buFont typeface="Arial" panose="020B0604020202020204" pitchFamily="34" charset="0"/>
        <a:buChar char="•"/>
        <a:defRPr sz="131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497746" indent="-166416" algn="l" defTabSz="665665" rtl="0" eaLnBrk="1" latinLnBrk="0" hangingPunct="1">
        <a:lnSpc>
          <a:spcPct val="90000"/>
        </a:lnSpc>
        <a:spcBef>
          <a:spcPts val="364"/>
        </a:spcBef>
        <a:buFont typeface="Arial" panose="020B0604020202020204" pitchFamily="34" charset="0"/>
        <a:buChar char="•"/>
        <a:defRPr sz="131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830579" indent="-166416" algn="l" defTabSz="665665" rtl="0" eaLnBrk="1" latinLnBrk="0" hangingPunct="1">
        <a:lnSpc>
          <a:spcPct val="90000"/>
        </a:lnSpc>
        <a:spcBef>
          <a:spcPts val="364"/>
        </a:spcBef>
        <a:buFont typeface="Arial" panose="020B0604020202020204" pitchFamily="34" charset="0"/>
        <a:buChar char="•"/>
        <a:defRPr sz="1310" kern="1200">
          <a:solidFill>
            <a:schemeClr val="tx1"/>
          </a:solidFill>
          <a:latin typeface="+mn-lt"/>
          <a:ea typeface="+mn-ea"/>
          <a:cs typeface="+mn-cs"/>
        </a:defRPr>
      </a:lvl6pPr>
      <a:lvl7pPr marL="2163411" indent="-166416" algn="l" defTabSz="665665" rtl="0" eaLnBrk="1" latinLnBrk="0" hangingPunct="1">
        <a:lnSpc>
          <a:spcPct val="90000"/>
        </a:lnSpc>
        <a:spcBef>
          <a:spcPts val="364"/>
        </a:spcBef>
        <a:buFont typeface="Arial" panose="020B0604020202020204" pitchFamily="34" charset="0"/>
        <a:buChar char="•"/>
        <a:defRPr sz="1310" kern="1200">
          <a:solidFill>
            <a:schemeClr val="tx1"/>
          </a:solidFill>
          <a:latin typeface="+mn-lt"/>
          <a:ea typeface="+mn-ea"/>
          <a:cs typeface="+mn-cs"/>
        </a:defRPr>
      </a:lvl7pPr>
      <a:lvl8pPr marL="2496243" indent="-166416" algn="l" defTabSz="665665" rtl="0" eaLnBrk="1" latinLnBrk="0" hangingPunct="1">
        <a:lnSpc>
          <a:spcPct val="90000"/>
        </a:lnSpc>
        <a:spcBef>
          <a:spcPts val="364"/>
        </a:spcBef>
        <a:buFont typeface="Arial" panose="020B0604020202020204" pitchFamily="34" charset="0"/>
        <a:buChar char="•"/>
        <a:defRPr sz="1310" kern="1200">
          <a:solidFill>
            <a:schemeClr val="tx1"/>
          </a:solidFill>
          <a:latin typeface="+mn-lt"/>
          <a:ea typeface="+mn-ea"/>
          <a:cs typeface="+mn-cs"/>
        </a:defRPr>
      </a:lvl8pPr>
      <a:lvl9pPr marL="2829076" indent="-166416" algn="l" defTabSz="665665" rtl="0" eaLnBrk="1" latinLnBrk="0" hangingPunct="1">
        <a:lnSpc>
          <a:spcPct val="90000"/>
        </a:lnSpc>
        <a:spcBef>
          <a:spcPts val="364"/>
        </a:spcBef>
        <a:buFont typeface="Arial" panose="020B0604020202020204" pitchFamily="34" charset="0"/>
        <a:buChar char="•"/>
        <a:defRPr sz="131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65665" rtl="0" eaLnBrk="1" latinLnBrk="0" hangingPunct="1">
        <a:defRPr sz="1310" kern="1200">
          <a:solidFill>
            <a:schemeClr val="tx1"/>
          </a:solidFill>
          <a:latin typeface="+mn-lt"/>
          <a:ea typeface="+mn-ea"/>
          <a:cs typeface="+mn-cs"/>
        </a:defRPr>
      </a:lvl1pPr>
      <a:lvl2pPr marL="332832" algn="l" defTabSz="665665" rtl="0" eaLnBrk="1" latinLnBrk="0" hangingPunct="1">
        <a:defRPr sz="1310" kern="1200">
          <a:solidFill>
            <a:schemeClr val="tx1"/>
          </a:solidFill>
          <a:latin typeface="+mn-lt"/>
          <a:ea typeface="+mn-ea"/>
          <a:cs typeface="+mn-cs"/>
        </a:defRPr>
      </a:lvl2pPr>
      <a:lvl3pPr marL="665665" algn="l" defTabSz="665665" rtl="0" eaLnBrk="1" latinLnBrk="0" hangingPunct="1">
        <a:defRPr sz="1310" kern="1200">
          <a:solidFill>
            <a:schemeClr val="tx1"/>
          </a:solidFill>
          <a:latin typeface="+mn-lt"/>
          <a:ea typeface="+mn-ea"/>
          <a:cs typeface="+mn-cs"/>
        </a:defRPr>
      </a:lvl3pPr>
      <a:lvl4pPr marL="998497" algn="l" defTabSz="665665" rtl="0" eaLnBrk="1" latinLnBrk="0" hangingPunct="1">
        <a:defRPr sz="1310" kern="1200">
          <a:solidFill>
            <a:schemeClr val="tx1"/>
          </a:solidFill>
          <a:latin typeface="+mn-lt"/>
          <a:ea typeface="+mn-ea"/>
          <a:cs typeface="+mn-cs"/>
        </a:defRPr>
      </a:lvl4pPr>
      <a:lvl5pPr marL="1331330" algn="l" defTabSz="665665" rtl="0" eaLnBrk="1" latinLnBrk="0" hangingPunct="1">
        <a:defRPr sz="1310" kern="1200">
          <a:solidFill>
            <a:schemeClr val="tx1"/>
          </a:solidFill>
          <a:latin typeface="+mn-lt"/>
          <a:ea typeface="+mn-ea"/>
          <a:cs typeface="+mn-cs"/>
        </a:defRPr>
      </a:lvl5pPr>
      <a:lvl6pPr marL="1664162" algn="l" defTabSz="665665" rtl="0" eaLnBrk="1" latinLnBrk="0" hangingPunct="1">
        <a:defRPr sz="1310" kern="1200">
          <a:solidFill>
            <a:schemeClr val="tx1"/>
          </a:solidFill>
          <a:latin typeface="+mn-lt"/>
          <a:ea typeface="+mn-ea"/>
          <a:cs typeface="+mn-cs"/>
        </a:defRPr>
      </a:lvl6pPr>
      <a:lvl7pPr marL="1996995" algn="l" defTabSz="665665" rtl="0" eaLnBrk="1" latinLnBrk="0" hangingPunct="1">
        <a:defRPr sz="1310" kern="1200">
          <a:solidFill>
            <a:schemeClr val="tx1"/>
          </a:solidFill>
          <a:latin typeface="+mn-lt"/>
          <a:ea typeface="+mn-ea"/>
          <a:cs typeface="+mn-cs"/>
        </a:defRPr>
      </a:lvl7pPr>
      <a:lvl8pPr marL="2329827" algn="l" defTabSz="665665" rtl="0" eaLnBrk="1" latinLnBrk="0" hangingPunct="1">
        <a:defRPr sz="1310" kern="1200">
          <a:solidFill>
            <a:schemeClr val="tx1"/>
          </a:solidFill>
          <a:latin typeface="+mn-lt"/>
          <a:ea typeface="+mn-ea"/>
          <a:cs typeface="+mn-cs"/>
        </a:defRPr>
      </a:lvl8pPr>
      <a:lvl9pPr marL="2662660" algn="l" defTabSz="665665" rtl="0" eaLnBrk="1" latinLnBrk="0" hangingPunct="1">
        <a:defRPr sz="131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2">
          <p15:clr>
            <a:srgbClr val="F26B43"/>
          </p15:clr>
        </p15:guide>
        <p15:guide id="2" pos="5904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orient="horz" pos="43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1585D3C-7D2C-FE65-11D9-D04FE9D4A8DD}"/>
              </a:ext>
            </a:extLst>
          </p:cNvPr>
          <p:cNvSpPr/>
          <p:nvPr/>
        </p:nvSpPr>
        <p:spPr>
          <a:xfrm>
            <a:off x="581025" y="1283226"/>
            <a:ext cx="2076450" cy="120015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lf </a:t>
            </a:r>
          </a:p>
          <a:p>
            <a:pPr algn="ctr"/>
            <a:r>
              <a:rPr lang="en-US" dirty="0"/>
              <a:t>Service</a:t>
            </a:r>
          </a:p>
          <a:p>
            <a:pPr algn="ctr"/>
            <a:endParaRPr lang="en-US" sz="1100" dirty="0"/>
          </a:p>
          <a:p>
            <a:pPr algn="ctr"/>
            <a:r>
              <a:rPr lang="en-US" sz="1100" i="1" dirty="0"/>
              <a:t>End Us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6A280B7-9DDC-024C-4959-9DE2291E296C}"/>
              </a:ext>
            </a:extLst>
          </p:cNvPr>
          <p:cNvSpPr/>
          <p:nvPr/>
        </p:nvSpPr>
        <p:spPr>
          <a:xfrm>
            <a:off x="581025" y="3089799"/>
            <a:ext cx="2076450" cy="120015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uper User </a:t>
            </a:r>
          </a:p>
          <a:p>
            <a:pPr algn="ctr"/>
            <a:r>
              <a:rPr lang="en-US" sz="1400" dirty="0"/>
              <a:t>Or </a:t>
            </a:r>
          </a:p>
          <a:p>
            <a:pPr algn="ctr"/>
            <a:r>
              <a:rPr lang="en-US" sz="1400" dirty="0"/>
              <a:t>Problem Definition Creation</a:t>
            </a:r>
          </a:p>
          <a:p>
            <a:pPr algn="ctr"/>
            <a:r>
              <a:rPr lang="en-US" sz="1100" i="1" dirty="0"/>
              <a:t>Super User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4948D605-6A19-DF24-8C73-FC4C60BDC54A}"/>
              </a:ext>
            </a:extLst>
          </p:cNvPr>
          <p:cNvCxnSpPr>
            <a:stCxn id="4" idx="2"/>
            <a:endCxn id="5" idx="0"/>
          </p:cNvCxnSpPr>
          <p:nvPr/>
        </p:nvCxnSpPr>
        <p:spPr>
          <a:xfrm>
            <a:off x="1619250" y="2483376"/>
            <a:ext cx="0" cy="6064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057DF4E1-C99A-6A11-8754-66C576912AE6}"/>
              </a:ext>
            </a:extLst>
          </p:cNvPr>
          <p:cNvSpPr txBox="1"/>
          <p:nvPr/>
        </p:nvSpPr>
        <p:spPr>
          <a:xfrm>
            <a:off x="1015559" y="2783045"/>
            <a:ext cx="12073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/>
              <a:t>Results Not foun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672E59-A9C0-DEAF-A569-E93331001DEF}"/>
              </a:ext>
            </a:extLst>
          </p:cNvPr>
          <p:cNvSpPr/>
          <p:nvPr/>
        </p:nvSpPr>
        <p:spPr>
          <a:xfrm>
            <a:off x="581025" y="5125190"/>
            <a:ext cx="2076450" cy="120015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orked within Agile </a:t>
            </a:r>
          </a:p>
          <a:p>
            <a:pPr algn="ctr"/>
            <a:endParaRPr lang="en-US" sz="1100" dirty="0"/>
          </a:p>
          <a:p>
            <a:pPr algn="ctr"/>
            <a:r>
              <a:rPr lang="en-US" sz="1100" i="1" dirty="0"/>
              <a:t>BI teams</a:t>
            </a:r>
          </a:p>
          <a:p>
            <a:pPr algn="ctr"/>
            <a:endParaRPr lang="en-US" b="1" dirty="0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548834F-7898-B290-6DF6-81C43F938218}"/>
              </a:ext>
            </a:extLst>
          </p:cNvPr>
          <p:cNvCxnSpPr/>
          <p:nvPr/>
        </p:nvCxnSpPr>
        <p:spPr>
          <a:xfrm>
            <a:off x="1569508" y="4277095"/>
            <a:ext cx="0" cy="8609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8268362-9B45-4CE8-F44B-4A241E58537C}"/>
              </a:ext>
            </a:extLst>
          </p:cNvPr>
          <p:cNvSpPr txBox="1"/>
          <p:nvPr/>
        </p:nvSpPr>
        <p:spPr>
          <a:xfrm>
            <a:off x="976107" y="4477720"/>
            <a:ext cx="1277914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Existing, small or </a:t>
            </a:r>
          </a:p>
          <a:p>
            <a:r>
              <a:rPr lang="en-US" sz="1050" dirty="0"/>
              <a:t>Quick Fix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CC36DD-2528-B333-C1F9-02EA9645DDBD}"/>
              </a:ext>
            </a:extLst>
          </p:cNvPr>
          <p:cNvSpPr/>
          <p:nvPr/>
        </p:nvSpPr>
        <p:spPr>
          <a:xfrm>
            <a:off x="4125103" y="3095070"/>
            <a:ext cx="2076450" cy="120015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roblem Solving to </a:t>
            </a:r>
          </a:p>
          <a:p>
            <a:pPr algn="ctr"/>
            <a:r>
              <a:rPr lang="en-US" sz="1600" dirty="0"/>
              <a:t>Define problem</a:t>
            </a:r>
          </a:p>
          <a:p>
            <a:pPr algn="ctr"/>
            <a:endParaRPr lang="en-US" sz="1100" dirty="0"/>
          </a:p>
          <a:p>
            <a:pPr algn="ctr"/>
            <a:r>
              <a:rPr lang="en-US" sz="1100" i="1" dirty="0"/>
              <a:t>Super User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A41BADE-C99D-43E5-7940-CF88C128A121}"/>
              </a:ext>
            </a:extLst>
          </p:cNvPr>
          <p:cNvCxnSpPr>
            <a:stCxn id="5" idx="3"/>
            <a:endCxn id="12" idx="1"/>
          </p:cNvCxnSpPr>
          <p:nvPr/>
        </p:nvCxnSpPr>
        <p:spPr>
          <a:xfrm>
            <a:off x="2657475" y="3689874"/>
            <a:ext cx="1467628" cy="52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A58879CA-B448-651F-078D-30E745DD9AE0}"/>
              </a:ext>
            </a:extLst>
          </p:cNvPr>
          <p:cNvSpPr txBox="1"/>
          <p:nvPr/>
        </p:nvSpPr>
        <p:spPr>
          <a:xfrm>
            <a:off x="2718990" y="3494196"/>
            <a:ext cx="102463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/>
              <a:t>Larger </a:t>
            </a:r>
          </a:p>
          <a:p>
            <a:r>
              <a:rPr lang="en-US" sz="1050"/>
              <a:t>Initiative / New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449AF0C-2398-B27B-38CC-EF315ABADB29}"/>
              </a:ext>
            </a:extLst>
          </p:cNvPr>
          <p:cNvSpPr/>
          <p:nvPr/>
        </p:nvSpPr>
        <p:spPr>
          <a:xfrm>
            <a:off x="6879824" y="3076945"/>
            <a:ext cx="2076450" cy="120015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ject Design &amp; Execute</a:t>
            </a:r>
          </a:p>
          <a:p>
            <a:pPr algn="ctr"/>
            <a:endParaRPr lang="en-US" sz="1100" dirty="0"/>
          </a:p>
          <a:p>
            <a:pPr algn="ctr"/>
            <a:r>
              <a:rPr lang="en-US" sz="1100" i="1" dirty="0"/>
              <a:t>BI/EA teams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127FC38-7CF9-8C36-9426-D1D850DA86CB}"/>
              </a:ext>
            </a:extLst>
          </p:cNvPr>
          <p:cNvCxnSpPr>
            <a:cxnSpLocks/>
            <a:endCxn id="17" idx="1"/>
          </p:cNvCxnSpPr>
          <p:nvPr/>
        </p:nvCxnSpPr>
        <p:spPr>
          <a:xfrm flipV="1">
            <a:off x="5523283" y="3677020"/>
            <a:ext cx="1356541" cy="249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26BA5730-D440-B69C-6E79-69DD30AA7CC5}"/>
              </a:ext>
            </a:extLst>
          </p:cNvPr>
          <p:cNvCxnSpPr>
            <a:stCxn id="12" idx="2"/>
            <a:endCxn id="9" idx="3"/>
          </p:cNvCxnSpPr>
          <p:nvPr/>
        </p:nvCxnSpPr>
        <p:spPr>
          <a:xfrm rot="5400000">
            <a:off x="3195380" y="3757316"/>
            <a:ext cx="1430045" cy="250585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51886286-D022-AC39-994B-F6E69D9F4EEF}"/>
              </a:ext>
            </a:extLst>
          </p:cNvPr>
          <p:cNvSpPr txBox="1"/>
          <p:nvPr/>
        </p:nvSpPr>
        <p:spPr>
          <a:xfrm>
            <a:off x="4626964" y="4468299"/>
            <a:ext cx="1143522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/>
              <a:t>Need more data to define problem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D7FE313-980B-A741-D015-9A90B5160F50}"/>
              </a:ext>
            </a:extLst>
          </p:cNvPr>
          <p:cNvSpPr/>
          <p:nvPr/>
        </p:nvSpPr>
        <p:spPr>
          <a:xfrm>
            <a:off x="9643972" y="3076945"/>
            <a:ext cx="2076450" cy="120015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heck Benefits</a:t>
            </a:r>
          </a:p>
          <a:p>
            <a:pPr algn="ctr"/>
            <a:endParaRPr lang="en-US" sz="1100" i="1" dirty="0"/>
          </a:p>
          <a:p>
            <a:pPr algn="ctr"/>
            <a:endParaRPr lang="en-US" sz="1100" i="1" dirty="0"/>
          </a:p>
          <a:p>
            <a:pPr algn="ctr"/>
            <a:r>
              <a:rPr lang="en-US" sz="1100" i="1" dirty="0"/>
              <a:t>BI teams</a:t>
            </a:r>
          </a:p>
          <a:p>
            <a:pPr algn="ctr"/>
            <a:endParaRPr lang="en-US" dirty="0"/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0F7D33C-7FBA-A299-4EB5-E97BB160CEDB}"/>
              </a:ext>
            </a:extLst>
          </p:cNvPr>
          <p:cNvCxnSpPr>
            <a:cxnSpLocks/>
            <a:stCxn id="17" idx="3"/>
            <a:endCxn id="27" idx="1"/>
          </p:cNvCxnSpPr>
          <p:nvPr/>
        </p:nvCxnSpPr>
        <p:spPr>
          <a:xfrm>
            <a:off x="8956274" y="3677020"/>
            <a:ext cx="68769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34C7C954-817C-3A3D-81FC-92E1E314AA52}"/>
              </a:ext>
            </a:extLst>
          </p:cNvPr>
          <p:cNvCxnSpPr>
            <a:cxnSpLocks/>
            <a:stCxn id="27" idx="0"/>
            <a:endCxn id="40" idx="3"/>
          </p:cNvCxnSpPr>
          <p:nvPr/>
        </p:nvCxnSpPr>
        <p:spPr>
          <a:xfrm rot="16200000" flipV="1">
            <a:off x="8591276" y="986024"/>
            <a:ext cx="1855485" cy="2326358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F8ED4316-03D6-0AD0-72D6-BDFD967584AD}"/>
              </a:ext>
            </a:extLst>
          </p:cNvPr>
          <p:cNvSpPr txBox="1"/>
          <p:nvPr/>
        </p:nvSpPr>
        <p:spPr>
          <a:xfrm>
            <a:off x="10099257" y="1937362"/>
            <a:ext cx="94929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/>
              <a:t>Train &amp; Adop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0D8B1A5-987E-DE76-63F2-90DC6827507C}"/>
              </a:ext>
            </a:extLst>
          </p:cNvPr>
          <p:cNvSpPr/>
          <p:nvPr/>
        </p:nvSpPr>
        <p:spPr>
          <a:xfrm>
            <a:off x="581025" y="402489"/>
            <a:ext cx="2076450" cy="581067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User to communicate the problem they are trying to solve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F38181BD-2D05-37A5-5164-1792CE4D00BE}"/>
              </a:ext>
            </a:extLst>
          </p:cNvPr>
          <p:cNvCxnSpPr>
            <a:stCxn id="35" idx="2"/>
            <a:endCxn id="4" idx="0"/>
          </p:cNvCxnSpPr>
          <p:nvPr/>
        </p:nvCxnSpPr>
        <p:spPr>
          <a:xfrm>
            <a:off x="1619250" y="983556"/>
            <a:ext cx="0" cy="2996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2D5A42E1-010D-EECF-8C42-3DB90A46CF62}"/>
              </a:ext>
            </a:extLst>
          </p:cNvPr>
          <p:cNvSpPr/>
          <p:nvPr/>
        </p:nvSpPr>
        <p:spPr>
          <a:xfrm>
            <a:off x="-2014537" y="1016125"/>
            <a:ext cx="1901413" cy="921237"/>
          </a:xfrm>
          <a:prstGeom prst="borderCallout1">
            <a:avLst>
              <a:gd name="adj1" fmla="val 52601"/>
              <a:gd name="adj2" fmla="val 101976"/>
              <a:gd name="adj3" fmla="val 61276"/>
              <a:gd name="adj4" fmla="val 134162"/>
            </a:avLst>
          </a:prstGeom>
          <a:ln>
            <a:prstDash val="dash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Goal is for majority of needs are resolved with Self service by the end user.</a:t>
            </a:r>
          </a:p>
        </p:txBody>
      </p:sp>
      <p:sp>
        <p:nvSpPr>
          <p:cNvPr id="18" name="Callout: Line 17">
            <a:extLst>
              <a:ext uri="{FF2B5EF4-FFF2-40B4-BE49-F238E27FC236}">
                <a16:creationId xmlns:a16="http://schemas.microsoft.com/office/drawing/2014/main" id="{F8E0D111-6150-789C-C9BD-ABD69238C8F6}"/>
              </a:ext>
            </a:extLst>
          </p:cNvPr>
          <p:cNvSpPr/>
          <p:nvPr/>
        </p:nvSpPr>
        <p:spPr>
          <a:xfrm>
            <a:off x="-1982717" y="2379804"/>
            <a:ext cx="1901413" cy="2123622"/>
          </a:xfrm>
          <a:prstGeom prst="borderCallout1">
            <a:avLst>
              <a:gd name="adj1" fmla="val 52601"/>
              <a:gd name="adj2" fmla="val 101976"/>
              <a:gd name="adj3" fmla="val 57198"/>
              <a:gd name="adj4" fmla="val 135143"/>
            </a:avLst>
          </a:prstGeom>
          <a:ln>
            <a:prstDash val="dash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If the problem cannot by resolved by themselves, then they connect with a “super user” designation within the business.  If they cannot solve the problem, they need to evaluate if it’s a large initiative or a small initiative to resolve.</a:t>
            </a:r>
          </a:p>
        </p:txBody>
      </p:sp>
      <p:sp>
        <p:nvSpPr>
          <p:cNvPr id="20" name="Callout: Line 19">
            <a:extLst>
              <a:ext uri="{FF2B5EF4-FFF2-40B4-BE49-F238E27FC236}">
                <a16:creationId xmlns:a16="http://schemas.microsoft.com/office/drawing/2014/main" id="{6F03CFB1-0161-9B10-69B5-BA391185D5D2}"/>
              </a:ext>
            </a:extLst>
          </p:cNvPr>
          <p:cNvSpPr/>
          <p:nvPr/>
        </p:nvSpPr>
        <p:spPr>
          <a:xfrm>
            <a:off x="-2014538" y="5045380"/>
            <a:ext cx="1901413" cy="1437588"/>
          </a:xfrm>
          <a:prstGeom prst="borderCallout1">
            <a:avLst>
              <a:gd name="adj1" fmla="val 52601"/>
              <a:gd name="adj2" fmla="val 101976"/>
              <a:gd name="adj3" fmla="val 47071"/>
              <a:gd name="adj4" fmla="val 136641"/>
            </a:avLst>
          </a:prstGeom>
          <a:ln>
            <a:prstDash val="dash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The Business Intelligence team works in Agile teams. If it is a quick, small fix, then a user story is created in the appropriate BI team to quickly resolve it.</a:t>
            </a:r>
          </a:p>
        </p:txBody>
      </p:sp>
      <p:sp>
        <p:nvSpPr>
          <p:cNvPr id="24" name="Callout: Line 23">
            <a:extLst>
              <a:ext uri="{FF2B5EF4-FFF2-40B4-BE49-F238E27FC236}">
                <a16:creationId xmlns:a16="http://schemas.microsoft.com/office/drawing/2014/main" id="{FC265AAA-A309-C030-0936-052F62EAB831}"/>
              </a:ext>
            </a:extLst>
          </p:cNvPr>
          <p:cNvSpPr/>
          <p:nvPr/>
        </p:nvSpPr>
        <p:spPr>
          <a:xfrm>
            <a:off x="3436203" y="1271956"/>
            <a:ext cx="1901413" cy="1437588"/>
          </a:xfrm>
          <a:prstGeom prst="borderCallout1">
            <a:avLst>
              <a:gd name="adj1" fmla="val 99814"/>
              <a:gd name="adj2" fmla="val 49423"/>
              <a:gd name="adj3" fmla="val 125103"/>
              <a:gd name="adj4" fmla="val 89046"/>
            </a:avLst>
          </a:prstGeom>
          <a:ln>
            <a:prstDash val="dash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If it is a large initiative to resolve, then a problem solving exercise needs to be completed to define the problem. </a:t>
            </a:r>
          </a:p>
        </p:txBody>
      </p:sp>
      <p:sp>
        <p:nvSpPr>
          <p:cNvPr id="25" name="Callout: Line 24">
            <a:extLst>
              <a:ext uri="{FF2B5EF4-FFF2-40B4-BE49-F238E27FC236}">
                <a16:creationId xmlns:a16="http://schemas.microsoft.com/office/drawing/2014/main" id="{3270153C-9A71-5014-A927-570955ACA97B}"/>
              </a:ext>
            </a:extLst>
          </p:cNvPr>
          <p:cNvSpPr/>
          <p:nvPr/>
        </p:nvSpPr>
        <p:spPr>
          <a:xfrm>
            <a:off x="5523282" y="5163158"/>
            <a:ext cx="1901413" cy="1437588"/>
          </a:xfrm>
          <a:prstGeom prst="borderCallout1">
            <a:avLst>
              <a:gd name="adj1" fmla="val 49978"/>
              <a:gd name="adj2" fmla="val -1642"/>
              <a:gd name="adj3" fmla="val 40513"/>
              <a:gd name="adj4" fmla="val -36883"/>
            </a:avLst>
          </a:prstGeom>
          <a:ln>
            <a:prstDash val="dash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If the user needs data to finish problem solving exercise, then a request needs to be entered to quickly provide the data. . </a:t>
            </a:r>
          </a:p>
        </p:txBody>
      </p:sp>
      <p:sp>
        <p:nvSpPr>
          <p:cNvPr id="26" name="Callout: Line 25">
            <a:extLst>
              <a:ext uri="{FF2B5EF4-FFF2-40B4-BE49-F238E27FC236}">
                <a16:creationId xmlns:a16="http://schemas.microsoft.com/office/drawing/2014/main" id="{50288570-0B18-4EDE-1261-5A6B63318753}"/>
              </a:ext>
            </a:extLst>
          </p:cNvPr>
          <p:cNvSpPr/>
          <p:nvPr/>
        </p:nvSpPr>
        <p:spPr>
          <a:xfrm>
            <a:off x="8088847" y="4987691"/>
            <a:ext cx="1901413" cy="1437588"/>
          </a:xfrm>
          <a:prstGeom prst="borderCallout1">
            <a:avLst>
              <a:gd name="adj1" fmla="val -1825"/>
              <a:gd name="adj2" fmla="val 52398"/>
              <a:gd name="adj3" fmla="val -48011"/>
              <a:gd name="adj4" fmla="val -12094"/>
            </a:avLst>
          </a:prstGeom>
          <a:ln>
            <a:prstDash val="dash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Once the problem is understood, the architecture design, data quality, data consistency and plan of how to solve the problem is created. 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Once aligned it is then executed</a:t>
            </a:r>
          </a:p>
        </p:txBody>
      </p:sp>
      <p:sp>
        <p:nvSpPr>
          <p:cNvPr id="29" name="Callout: Line 28">
            <a:extLst>
              <a:ext uri="{FF2B5EF4-FFF2-40B4-BE49-F238E27FC236}">
                <a16:creationId xmlns:a16="http://schemas.microsoft.com/office/drawing/2014/main" id="{FD79D8D9-B73F-F79D-8C1A-DB2789B00B55}"/>
              </a:ext>
            </a:extLst>
          </p:cNvPr>
          <p:cNvSpPr/>
          <p:nvPr/>
        </p:nvSpPr>
        <p:spPr>
          <a:xfrm>
            <a:off x="10818941" y="5006471"/>
            <a:ext cx="1901413" cy="1437588"/>
          </a:xfrm>
          <a:prstGeom prst="borderCallout1">
            <a:avLst>
              <a:gd name="adj1" fmla="val -1825"/>
              <a:gd name="adj2" fmla="val 52398"/>
              <a:gd name="adj3" fmla="val -48011"/>
              <a:gd name="adj4" fmla="val -12094"/>
            </a:avLst>
          </a:prstGeom>
          <a:ln>
            <a:prstDash val="dash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Regardless of the solution is resolved in steps 1, 2, 3, or 4, benefits and feedback is needed</a:t>
            </a:r>
          </a:p>
        </p:txBody>
      </p:sp>
      <p:sp>
        <p:nvSpPr>
          <p:cNvPr id="30" name="Flowchart: Connector 29">
            <a:extLst>
              <a:ext uri="{FF2B5EF4-FFF2-40B4-BE49-F238E27FC236}">
                <a16:creationId xmlns:a16="http://schemas.microsoft.com/office/drawing/2014/main" id="{22D540DD-CB1C-EBEE-31A3-A452AB9E843D}"/>
              </a:ext>
            </a:extLst>
          </p:cNvPr>
          <p:cNvSpPr/>
          <p:nvPr/>
        </p:nvSpPr>
        <p:spPr>
          <a:xfrm>
            <a:off x="438825" y="1095455"/>
            <a:ext cx="486276" cy="431027"/>
          </a:xfrm>
          <a:prstGeom prst="flowChartConnector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34" name="Flowchart: Connector 33">
            <a:extLst>
              <a:ext uri="{FF2B5EF4-FFF2-40B4-BE49-F238E27FC236}">
                <a16:creationId xmlns:a16="http://schemas.microsoft.com/office/drawing/2014/main" id="{246FA591-34B5-E1AA-FD3E-E83C86C43D3C}"/>
              </a:ext>
            </a:extLst>
          </p:cNvPr>
          <p:cNvSpPr/>
          <p:nvPr/>
        </p:nvSpPr>
        <p:spPr>
          <a:xfrm>
            <a:off x="370724" y="2904843"/>
            <a:ext cx="486276" cy="431027"/>
          </a:xfrm>
          <a:prstGeom prst="flowChartConnector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36" name="Flowchart: Connector 35">
            <a:extLst>
              <a:ext uri="{FF2B5EF4-FFF2-40B4-BE49-F238E27FC236}">
                <a16:creationId xmlns:a16="http://schemas.microsoft.com/office/drawing/2014/main" id="{30F017B1-F3B5-0312-8E5B-61EDACF30C7A}"/>
              </a:ext>
            </a:extLst>
          </p:cNvPr>
          <p:cNvSpPr/>
          <p:nvPr/>
        </p:nvSpPr>
        <p:spPr>
          <a:xfrm>
            <a:off x="337048" y="4904405"/>
            <a:ext cx="486276" cy="431027"/>
          </a:xfrm>
          <a:prstGeom prst="flowChartConnector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38" name="Flowchart: Connector 37">
            <a:extLst>
              <a:ext uri="{FF2B5EF4-FFF2-40B4-BE49-F238E27FC236}">
                <a16:creationId xmlns:a16="http://schemas.microsoft.com/office/drawing/2014/main" id="{B74BF0B0-BB23-7B53-3E02-3C92CFBBD6F3}"/>
              </a:ext>
            </a:extLst>
          </p:cNvPr>
          <p:cNvSpPr/>
          <p:nvPr/>
        </p:nvSpPr>
        <p:spPr>
          <a:xfrm>
            <a:off x="6673711" y="2952382"/>
            <a:ext cx="486276" cy="431027"/>
          </a:xfrm>
          <a:prstGeom prst="flowChartConnector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39" name="Callout: Line 38">
            <a:extLst>
              <a:ext uri="{FF2B5EF4-FFF2-40B4-BE49-F238E27FC236}">
                <a16:creationId xmlns:a16="http://schemas.microsoft.com/office/drawing/2014/main" id="{049E9D92-D99F-9211-32BE-E66605D1C554}"/>
              </a:ext>
            </a:extLst>
          </p:cNvPr>
          <p:cNvSpPr/>
          <p:nvPr/>
        </p:nvSpPr>
        <p:spPr>
          <a:xfrm>
            <a:off x="9148550" y="-14994"/>
            <a:ext cx="1901413" cy="1162239"/>
          </a:xfrm>
          <a:prstGeom prst="borderCallout1">
            <a:avLst>
              <a:gd name="adj1" fmla="val 99814"/>
              <a:gd name="adj2" fmla="val 53885"/>
              <a:gd name="adj3" fmla="val 51978"/>
              <a:gd name="adj4" fmla="val -109094"/>
            </a:avLst>
          </a:prstGeom>
          <a:ln>
            <a:prstDash val="dash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Reflection, feedback and training is needed to gain additional insight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CE0A820-4869-58DE-25E8-C06E2BDD61BE}"/>
              </a:ext>
            </a:extLst>
          </p:cNvPr>
          <p:cNvSpPr/>
          <p:nvPr/>
        </p:nvSpPr>
        <p:spPr>
          <a:xfrm>
            <a:off x="6279389" y="621385"/>
            <a:ext cx="2076450" cy="120015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ain insights</a:t>
            </a:r>
          </a:p>
          <a:p>
            <a:pPr algn="ctr"/>
            <a:endParaRPr lang="en-US" sz="1100" dirty="0"/>
          </a:p>
          <a:p>
            <a:pPr algn="ctr"/>
            <a:r>
              <a:rPr lang="en-US" sz="1100" i="1" dirty="0"/>
              <a:t>End User</a:t>
            </a:r>
          </a:p>
        </p:txBody>
      </p: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F11F7B6E-300E-A1E2-03A2-D237A9C23FAE}"/>
              </a:ext>
            </a:extLst>
          </p:cNvPr>
          <p:cNvCxnSpPr>
            <a:stCxn id="40" idx="1"/>
            <a:endCxn id="35" idx="3"/>
          </p:cNvCxnSpPr>
          <p:nvPr/>
        </p:nvCxnSpPr>
        <p:spPr>
          <a:xfrm rot="10800000">
            <a:off x="2657475" y="693024"/>
            <a:ext cx="3621914" cy="52843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83736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5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0&quot;&gt;&lt;elem m_fUsage=&quot;1.18754100000000017978E+00&quot;&gt;&lt;m_msothmcolidx val=&quot;0&quot;/&gt;&lt;m_rgb r=&quot;D9&quot; g=&quot;D2&quot; b=&quot;BB&quot;/&gt;&lt;/elem&gt;&lt;elem m_fUsage=&quot;1.02095721000000017042E+00&quot;&gt;&lt;m_msothmcolidx val=&quot;0&quot;/&gt;&lt;m_rgb r=&quot;B1&quot; g=&quot;C6&quot; b=&quot;D1&quot;/&gt;&lt;/elem&gt;&lt;elem m_fUsage=&quot;1.00000000000000000000E+00&quot;&gt;&lt;m_msothmcolidx val=&quot;0&quot;/&gt;&lt;m_rgb r=&quot;FE&quot; g=&quot;9D&quot; b=&quot;5C&quot;/&gt;&lt;/elem&gt;&lt;elem m_fUsage=&quot;9.00000000000000022204E-01&quot;&gt;&lt;m_msothmcolidx val=&quot;0&quot;/&gt;&lt;m_rgb r=&quot;F8&quot; g=&quot;F2&quot; b=&quot;18&quot;/&gt;&lt;/elem&gt;&lt;elem m_fUsage=&quot;8.10000000000000053291E-01&quot;&gt;&lt;m_msothmcolidx val=&quot;0&quot;/&gt;&lt;m_rgb r=&quot;06&quot; g=&quot;03&quot; b=&quot;8D&quot;/&gt;&lt;/elem&gt;&lt;elem m_fUsage=&quot;7.29000000000000092371E-01&quot;&gt;&lt;m_msothmcolidx val=&quot;0&quot;/&gt;&lt;m_rgb r=&quot;00&quot; g=&quot;7E&quot; b=&quot;FD&quot;/&gt;&lt;/elem&gt;&lt;elem m_fUsage=&quot;4.78296900000000135833E-01&quot;&gt;&lt;m_msothmcolidx val=&quot;0&quot;/&gt;&lt;m_rgb r=&quot;BC&quot; g=&quot;B0&quot; b=&quot;89&quot;/&gt;&lt;/elem&gt;&lt;elem m_fUsage=&quot;3.87420489000000145552E-01&quot;&gt;&lt;m_msothmcolidx val=&quot;0&quot;/&gt;&lt;m_rgb r=&quot;73&quot; g=&quot;99&quot; b=&quot;AE&quot;/&gt;&lt;/elem&gt;&lt;elem m_fUsage=&quot;3.48678440100000153201E-01&quot;&gt;&lt;m_msothmcolidx val=&quot;0&quot;/&gt;&lt;m_rgb r=&quot;91&quot; g=&quot;AE&quot; b=&quot;BF&quot;/&gt;&lt;/elem&gt;&lt;elem m_fUsage=&quot;3.13810596090000171188E-01&quot;&gt;&lt;m_msothmcolidx val=&quot;0&quot;/&gt;&lt;m_rgb r=&quot;68&quot; g=&quot;91&quot; b=&quot;A8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HuO0.8Pky3Fso9DP9x8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MBCI Presentation Template">
  <a:themeElements>
    <a:clrScheme name="MBCI 2020 1">
      <a:dk1>
        <a:srgbClr val="3D3935"/>
      </a:dk1>
      <a:lt1>
        <a:srgbClr val="FFFFFF"/>
      </a:lt1>
      <a:dk2>
        <a:srgbClr val="4F748A"/>
      </a:dk2>
      <a:lt2>
        <a:srgbClr val="FFFFFF"/>
      </a:lt2>
      <a:accent1>
        <a:srgbClr val="958B83"/>
      </a:accent1>
      <a:accent2>
        <a:srgbClr val="A89968"/>
      </a:accent2>
      <a:accent3>
        <a:srgbClr val="4F748A"/>
      </a:accent3>
      <a:accent4>
        <a:srgbClr val="FFFFFF"/>
      </a:accent4>
      <a:accent5>
        <a:srgbClr val="000000"/>
      </a:accent5>
      <a:accent6>
        <a:srgbClr val="FFFFFF"/>
      </a:accent6>
      <a:hlink>
        <a:srgbClr val="4F748A"/>
      </a:hlink>
      <a:folHlink>
        <a:srgbClr val="958B8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B749519A-1BD6-B044-9D73-DF6D4418DDFA}" vid="{D6D62D61-061F-D242-941C-DD6B5671771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5C34F87B3FBE4188BC0855449541DB" ma:contentTypeVersion="8" ma:contentTypeDescription="Create a new document." ma:contentTypeScope="" ma:versionID="e273ebc35228ad0472406c3545855fd0">
  <xsd:schema xmlns:xsd="http://www.w3.org/2001/XMLSchema" xmlns:xs="http://www.w3.org/2001/XMLSchema" xmlns:p="http://schemas.microsoft.com/office/2006/metadata/properties" xmlns:ns2="a644768d-4c9c-4039-8029-3bddb094ac50" xmlns:ns3="43cb7c19-d6db-4ae7-a4ca-7493dac29442" targetNamespace="http://schemas.microsoft.com/office/2006/metadata/properties" ma:root="true" ma:fieldsID="1d9bd3d2cd9b9edc7d21796cc005db83" ns2:_="" ns3:_="">
    <xsd:import namespace="a644768d-4c9c-4039-8029-3bddb094ac50"/>
    <xsd:import namespace="43cb7c19-d6db-4ae7-a4ca-7493dac2944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44768d-4c9c-4039-8029-3bddb094ac5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cb7c19-d6db-4ae7-a4ca-7493dac2944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5EDFDC4-EB4A-4D0B-A152-296E8876499F}">
  <ds:schemaRefs>
    <ds:schemaRef ds:uri="43cb7c19-d6db-4ae7-a4ca-7493dac29442"/>
    <ds:schemaRef ds:uri="a644768d-4c9c-4039-8029-3bddb094ac5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4269FC2-486D-4F65-9B80-8893A234189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3ADF746-20CA-4673-8F89-C73FC0E1ED04}">
  <ds:schemaRefs>
    <ds:schemaRef ds:uri="http://schemas.microsoft.com/office/infopath/2007/PartnerControls"/>
    <ds:schemaRef ds:uri="http://www.w3.org/XML/1998/namespace"/>
    <ds:schemaRef ds:uri="43cb7c19-d6db-4ae7-a4ca-7493dac29442"/>
    <ds:schemaRef ds:uri="http://purl.org/dc/dcmitype/"/>
    <ds:schemaRef ds:uri="a644768d-4c9c-4039-8029-3bddb094ac50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4</TotalTime>
  <Words>285</Words>
  <Application>Microsoft Office PowerPoint</Application>
  <PresentationFormat>Widescreen</PresentationFormat>
  <Paragraphs>4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Segoe UI</vt:lpstr>
      <vt:lpstr>MBCI Presentation Template</vt:lpstr>
      <vt:lpstr>think-cell Slide</vt:lpstr>
      <vt:lpstr>PowerPoint Presentation</vt:lpstr>
    </vt:vector>
  </TitlesOfParts>
  <Company>MBC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th M Dibert</dc:creator>
  <cp:lastModifiedBy>Nicole Englert</cp:lastModifiedBy>
  <cp:revision>2</cp:revision>
  <cp:lastPrinted>2018-07-17T12:28:56Z</cp:lastPrinted>
  <dcterms:created xsi:type="dcterms:W3CDTF">2017-10-09T13:02:06Z</dcterms:created>
  <dcterms:modified xsi:type="dcterms:W3CDTF">2022-11-08T04:5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5C34F87B3FBE4188BC0855449541DB</vt:lpwstr>
  </property>
</Properties>
</file>